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15"/>
  </p:notesMasterIdLst>
  <p:sldIdLst>
    <p:sldId id="256" r:id="rId3"/>
    <p:sldId id="1694" r:id="rId4"/>
    <p:sldId id="258" r:id="rId5"/>
    <p:sldId id="1699" r:id="rId6"/>
    <p:sldId id="1697" r:id="rId7"/>
    <p:sldId id="1691" r:id="rId8"/>
    <p:sldId id="1703" r:id="rId9"/>
    <p:sldId id="1692" r:id="rId10"/>
    <p:sldId id="1709" r:id="rId11"/>
    <p:sldId id="1721" r:id="rId12"/>
    <p:sldId id="1722" r:id="rId13"/>
    <p:sldId id="261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91"/>
    <a:srgbClr val="FF83A8"/>
    <a:srgbClr val="7F7F7F"/>
    <a:srgbClr val="FF83A9"/>
    <a:srgbClr val="39BAE8"/>
    <a:srgbClr val="42BDE9"/>
    <a:srgbClr val="FFBFBE"/>
    <a:srgbClr val="92D9F2"/>
    <a:srgbClr val="E6E6E6"/>
    <a:srgbClr val="FCBA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36" autoAdjust="0"/>
    <p:restoredTop sz="96201" autoAdjust="0"/>
  </p:normalViewPr>
  <p:slideViewPr>
    <p:cSldViewPr snapToGrid="0">
      <p:cViewPr>
        <p:scale>
          <a:sx n="75" d="100"/>
          <a:sy n="75" d="100"/>
        </p:scale>
        <p:origin x="994" y="4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hyperlink" Target="http://www.officeplus.cn/Template/Home.shtml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ficeplus.cn/Template/Home.shtml" TargetMode="Externa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7698671" y="715249"/>
            <a:ext cx="3530051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5358307" y="2039469"/>
            <a:ext cx="6070237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0" y="1"/>
            <a:ext cx="4362450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934647" y="3122083"/>
            <a:ext cx="2611078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453964" y="1088581"/>
            <a:ext cx="3427706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3268795" y="992944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262420" y="3120767"/>
            <a:ext cx="5654410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262419" y="1862835"/>
            <a:ext cx="5654410" cy="1257932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262420" y="453010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62419" y="4847274"/>
            <a:ext cx="565441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微软黑科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3E71CC84-193F-4D28-98D9-17F9952F968C}"/>
              </a:ext>
            </a:extLst>
          </p:cNvPr>
          <p:cNvCxnSpPr/>
          <p:nvPr userDrawn="1"/>
        </p:nvCxnSpPr>
        <p:spPr>
          <a:xfrm>
            <a:off x="0" y="657288"/>
            <a:ext cx="12192000" cy="0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23A9F197-1133-4CEE-860F-85366976D0AC}"/>
              </a:ext>
            </a:extLst>
          </p:cNvPr>
          <p:cNvSpPr/>
          <p:nvPr userDrawn="1"/>
        </p:nvSpPr>
        <p:spPr>
          <a:xfrm>
            <a:off x="0" y="3091547"/>
            <a:ext cx="12192000" cy="3766453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A954438-2CEB-4119-883B-8B9196F98504}"/>
              </a:ext>
            </a:extLst>
          </p:cNvPr>
          <p:cNvSpPr/>
          <p:nvPr userDrawn="1"/>
        </p:nvSpPr>
        <p:spPr>
          <a:xfrm>
            <a:off x="621395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4CD1A364-B227-4CFB-9287-6198C6C0443B}"/>
              </a:ext>
            </a:extLst>
          </p:cNvPr>
          <p:cNvSpPr/>
          <p:nvPr userDrawn="1"/>
        </p:nvSpPr>
        <p:spPr>
          <a:xfrm>
            <a:off x="4374467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EA6AD26-5781-4DAD-8C16-8C73B2C177AD}"/>
              </a:ext>
            </a:extLst>
          </p:cNvPr>
          <p:cNvSpPr txBox="1"/>
          <p:nvPr userDrawn="1"/>
        </p:nvSpPr>
        <p:spPr>
          <a:xfrm>
            <a:off x="1656327" y="286129"/>
            <a:ext cx="8879354" cy="6701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  <a:spcBef>
                <a:spcPts val="600"/>
              </a:spcBef>
            </a:pPr>
            <a:r>
              <a:rPr lang="zh-CN" altLang="en-US" sz="3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微信扫描小程序码，使用微软移动办公黑科技 </a:t>
            </a:r>
            <a:endParaRPr lang="en-US" sz="3200" b="1" kern="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2806FD0-33B9-40F1-B8F9-079524CA002C}"/>
              </a:ext>
            </a:extLst>
          </p:cNvPr>
          <p:cNvCxnSpPr>
            <a:cxnSpLocks/>
          </p:cNvCxnSpPr>
          <p:nvPr userDrawn="1"/>
        </p:nvCxnSpPr>
        <p:spPr>
          <a:xfrm flipH="1">
            <a:off x="1523089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59FFD7E-3944-43A3-A5DD-D8673483D0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0402443" y="369629"/>
            <a:ext cx="266460" cy="622048"/>
          </a:xfrm>
          <a:prstGeom prst="line">
            <a:avLst/>
          </a:prstGeom>
          <a:ln>
            <a:solidFill>
              <a:srgbClr val="E73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6706F4-B20C-489C-ACB9-010EF43FEF70}"/>
              </a:ext>
            </a:extLst>
          </p:cNvPr>
          <p:cNvSpPr/>
          <p:nvPr userDrawn="1"/>
        </p:nvSpPr>
        <p:spPr>
          <a:xfrm>
            <a:off x="8159751" y="1362836"/>
            <a:ext cx="3462340" cy="3462340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A11A6D6-1DBD-4A10-8942-D3DDC4E182E9}"/>
              </a:ext>
            </a:extLst>
          </p:cNvPr>
          <p:cNvSpPr txBox="1"/>
          <p:nvPr userDrawn="1"/>
        </p:nvSpPr>
        <p:spPr>
          <a:xfrm>
            <a:off x="987447" y="5138740"/>
            <a:ext cx="2730235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在微信访问</a:t>
            </a:r>
            <a:r>
              <a:rPr lang="en-US" altLang="zh-CN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neDrive</a:t>
            </a: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</a:t>
            </a:r>
            <a:endParaRPr lang="en-US" sz="20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74E825-3465-469E-BD06-097F250CA889}"/>
              </a:ext>
            </a:extLst>
          </p:cNvPr>
          <p:cNvSpPr txBox="1"/>
          <p:nvPr userDrawn="1"/>
        </p:nvSpPr>
        <p:spPr>
          <a:xfrm>
            <a:off x="4862328" y="5138740"/>
            <a:ext cx="2467342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让你的文档会说话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听听文档 」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EC4AC92-2800-4841-84A3-26E495F2D178}"/>
              </a:ext>
            </a:extLst>
          </p:cNvPr>
          <p:cNvSpPr txBox="1"/>
          <p:nvPr userDrawn="1"/>
        </p:nvSpPr>
        <p:spPr>
          <a:xfrm>
            <a:off x="8644425" y="5138740"/>
            <a:ext cx="2492990" cy="907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2000" kern="0">
                <a:solidFill>
                  <a:schemeClr val="bg1">
                    <a:alpha val="77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你的文档创作小助手</a:t>
            </a:r>
            <a:endParaRPr lang="en-US" altLang="zh-CN" sz="2000" kern="0">
              <a:solidFill>
                <a:schemeClr val="bg1">
                  <a:alpha val="77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「 微软</a:t>
            </a:r>
            <a:r>
              <a:rPr lang="en-US" altLang="zh-CN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lang="zh-CN" altLang="en-US" sz="20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识图 」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F3D082CA-914B-42B8-A86E-16893B7234C9}"/>
              </a:ext>
            </a:extLst>
          </p:cNvPr>
          <p:cNvCxnSpPr/>
          <p:nvPr userDrawn="1"/>
        </p:nvCxnSpPr>
        <p:spPr>
          <a:xfrm>
            <a:off x="419803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421E3BB-42AC-4DCD-9031-7215136A1844}"/>
              </a:ext>
            </a:extLst>
          </p:cNvPr>
          <p:cNvCxnSpPr/>
          <p:nvPr userDrawn="1"/>
        </p:nvCxnSpPr>
        <p:spPr>
          <a:xfrm>
            <a:off x="7976215" y="5330650"/>
            <a:ext cx="0" cy="65314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图片 21">
            <a:hlinkClick r:id="rId2"/>
            <a:extLst>
              <a:ext uri="{FF2B5EF4-FFF2-40B4-BE49-F238E27FC236}">
                <a16:creationId xmlns:a16="http://schemas.microsoft.com/office/drawing/2014/main" id="{46C855E7-2DCA-4970-A954-7CB7F69FAD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7F32EC9-ED26-45EE-9DC4-21C3241FF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716" y="1726788"/>
            <a:ext cx="2743200" cy="27432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6F84124-CE71-4190-B92C-B61E496F7B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82" y="1726788"/>
            <a:ext cx="2743200" cy="2743200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39B45288-397E-405A-A715-DCD4FE40DC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320" y="1726788"/>
            <a:ext cx="27432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7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687991" y="221524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689107" y="311059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0"/>
            <a:ext cx="12192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743200" y="3636650"/>
            <a:ext cx="94488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7610576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0" y="1"/>
            <a:ext cx="3213100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3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3/2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1"/>
            <a:ext cx="12192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3268795" y="1030768"/>
            <a:ext cx="5654410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2034337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340573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4044302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440603" y="759873"/>
            <a:ext cx="1713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1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7B43CCB-1998-4484-B269-9ACB654ACB71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键调整模板颜色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F1532F4-AF97-400D-84E6-F00D2B3D35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A7E11C8-4335-45B0-A270-313A25ABC6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0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5615889-3ACE-4C91-970F-789D759EAC1E}"/>
              </a:ext>
            </a:extLst>
          </p:cNvPr>
          <p:cNvSpPr txBox="1"/>
          <p:nvPr userDrawn="1"/>
        </p:nvSpPr>
        <p:spPr>
          <a:xfrm>
            <a:off x="333477" y="6061002"/>
            <a:ext cx="3183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设计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变体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颜色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D19D40D-978A-4E04-8450-F6DC61B85399}"/>
              </a:ext>
            </a:extLst>
          </p:cNvPr>
          <p:cNvSpPr txBox="1"/>
          <p:nvPr userDrawn="1"/>
        </p:nvSpPr>
        <p:spPr>
          <a:xfrm>
            <a:off x="6360651" y="6061002"/>
            <a:ext cx="45624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喜欢的颜色搭配，模板一秒调整为你选颜色。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299860AF-0C43-4649-A586-85D19517B6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05928" y="2609333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6130A4D-8EC7-4AC1-B434-55DC6910286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7853" y="42571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模板使用技巧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54DB237-C74A-4BA8-A097-6A053DD3C747}"/>
              </a:ext>
            </a:extLst>
          </p:cNvPr>
          <p:cNvSpPr/>
          <p:nvPr userDrawn="1"/>
        </p:nvSpPr>
        <p:spPr>
          <a:xfrm>
            <a:off x="440603" y="759873"/>
            <a:ext cx="1750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lang="zh-CN" altLang="en-US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模板使用技巧</a:t>
            </a:r>
            <a:r>
              <a:rPr lang="en-US" altLang="zh-CN" sz="180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/>
                <a:cs typeface="Segoe UI Light"/>
              </a:rPr>
              <a:t> 2</a:t>
            </a:r>
            <a:endParaRPr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/>
              <a:cs typeface="Segoe UI Ligh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172DAD1-F67C-4AB8-ACEF-004237CB3D3F}"/>
              </a:ext>
            </a:extLst>
          </p:cNvPr>
          <p:cNvSpPr/>
          <p:nvPr userDrawn="1"/>
        </p:nvSpPr>
        <p:spPr>
          <a:xfrm>
            <a:off x="440603" y="182445"/>
            <a:ext cx="7777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/>
            <a:r>
              <a:rPr kumimoji="1" lang="en-US" altLang="zh-CN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/>
                <a:ea typeface="微软雅黑" charset="0"/>
                <a:cs typeface="Segoe UI Light"/>
              </a:rPr>
              <a:t>OfficePLUS</a:t>
            </a:r>
            <a:endParaRPr lang="zh-CN" altLang="en-US" sz="1000" dirty="0">
              <a:solidFill>
                <a:schemeClr val="tx1">
                  <a:lumMod val="75000"/>
                  <a:lumOff val="25000"/>
                </a:schemeClr>
              </a:solidFill>
              <a:latin typeface="Segoe UI Light"/>
              <a:ea typeface="微软雅黑" charset="0"/>
              <a:cs typeface="Segoe UI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00B558-79C0-475E-84A0-11700A36CA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800" y="2138895"/>
            <a:ext cx="5295899" cy="38470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FDE997-A67B-4FD0-B6AC-78D1EFE63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64301" y="2138895"/>
            <a:ext cx="5295900" cy="38470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3E1E676E-E869-48CE-BFB9-1C7FC981B376}"/>
              </a:ext>
            </a:extLst>
          </p:cNvPr>
          <p:cNvSpPr txBox="1"/>
          <p:nvPr userDrawn="1"/>
        </p:nvSpPr>
        <p:spPr>
          <a:xfrm>
            <a:off x="431800" y="1174234"/>
            <a:ext cx="34676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时添加模板样式</a:t>
            </a:r>
            <a:endParaRPr lang="en-US" sz="3200" b="1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768A42A-9DCD-4784-A3EF-F1D80ADC183F}"/>
              </a:ext>
            </a:extLst>
          </p:cNvPr>
          <p:cNvSpPr txBox="1"/>
          <p:nvPr userDrawn="1"/>
        </p:nvSpPr>
        <p:spPr>
          <a:xfrm>
            <a:off x="333477" y="6061002"/>
            <a:ext cx="3010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“开始”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“新建幻灯片”；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F8689A3-CABF-445F-829F-6396154A55D1}"/>
              </a:ext>
            </a:extLst>
          </p:cNvPr>
          <p:cNvSpPr txBox="1"/>
          <p:nvPr userDrawn="1"/>
        </p:nvSpPr>
        <p:spPr>
          <a:xfrm>
            <a:off x="6360651" y="6061002"/>
            <a:ext cx="5256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 选择你需要的页面，如封面页，目录页，副标题页，内容页等</a:t>
            </a:r>
            <a:r>
              <a:rPr lang="en-US" altLang="zh-CN" sz="1200" spc="15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en-US" sz="1200" spc="1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7C9996A-24BA-4EE9-BA5A-589E184191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00878" y="2428358"/>
            <a:ext cx="819667" cy="819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2771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关注微软Office文档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F3BB9638-2D2F-48B1-A8CF-673B237DCC17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E73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120C7C91-35F0-46E5-B511-2314CED2655F}"/>
              </a:ext>
            </a:extLst>
          </p:cNvPr>
          <p:cNvSpPr/>
          <p:nvPr userDrawn="1"/>
        </p:nvSpPr>
        <p:spPr>
          <a:xfrm>
            <a:off x="1079465" y="1527629"/>
            <a:ext cx="3802742" cy="3802742"/>
          </a:xfrm>
          <a:prstGeom prst="roundRect">
            <a:avLst>
              <a:gd name="adj" fmla="val 559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图片包含 纵横字谜, 文字&#10;&#10;已生成极高可信度的说明">
            <a:extLst>
              <a:ext uri="{FF2B5EF4-FFF2-40B4-BE49-F238E27FC236}">
                <a16:creationId xmlns:a16="http://schemas.microsoft.com/office/drawing/2014/main" id="{25779B21-3BC1-4E47-8650-6B0E785B5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08065" y="1756229"/>
            <a:ext cx="3345542" cy="3345542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343024A3-25F7-4B9A-9876-36F35421F6E6}"/>
              </a:ext>
            </a:extLst>
          </p:cNvPr>
          <p:cNvSpPr txBox="1"/>
          <p:nvPr userDrawn="1"/>
        </p:nvSpPr>
        <p:spPr>
          <a:xfrm>
            <a:off x="5239657" y="1566506"/>
            <a:ext cx="6013185" cy="3549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公模板更新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软</a:t>
            </a:r>
            <a:endParaRPr lang="en-US" altLang="zh-CN" sz="3600" b="1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微信扫码关注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「 微软</a:t>
            </a:r>
            <a:r>
              <a:rPr lang="en-US" altLang="zh-CN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Office</a:t>
            </a:r>
            <a:r>
              <a:rPr lang="zh-CN" altLang="en-US" sz="3600" b="1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档 」服务号</a:t>
            </a:r>
            <a:endParaRPr lang="en-US" altLang="zh-CN" sz="36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>
            <a:hlinkClick r:id="rId3"/>
            <a:extLst>
              <a:ext uri="{FF2B5EF4-FFF2-40B4-BE49-F238E27FC236}">
                <a16:creationId xmlns:a16="http://schemas.microsoft.com/office/drawing/2014/main" id="{5524D02C-49CE-4D3D-8B89-07CEC3966F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657" y="6345797"/>
            <a:ext cx="1712686" cy="22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3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3/2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95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4800" dirty="0"/>
              <a:t>项目开发计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268795" y="3881044"/>
            <a:ext cx="5654410" cy="639441"/>
          </a:xfrm>
        </p:spPr>
        <p:txBody>
          <a:bodyPr/>
          <a:lstStyle/>
          <a:p>
            <a:r>
              <a:rPr lang="zh-CN" altLang="en-US" sz="2000" dirty="0"/>
              <a:t>张鸿斌</a:t>
            </a:r>
            <a:r>
              <a:rPr lang="en-US" altLang="zh-CN" sz="2000" dirty="0"/>
              <a:t>  </a:t>
            </a:r>
            <a:r>
              <a:rPr lang="zh-CN" altLang="en-US" sz="2000" dirty="0"/>
              <a:t>刘君昊  秦旭坤  伍金龙  闵捷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30C8A00-848B-433A-BB1C-7AD3FBDC2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技术路线：深度学习图像分割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C0425E1-D715-4B19-AA55-F33F49BB3530}"/>
              </a:ext>
            </a:extLst>
          </p:cNvPr>
          <p:cNvSpPr txBox="1"/>
          <p:nvPr/>
        </p:nvSpPr>
        <p:spPr>
          <a:xfrm>
            <a:off x="669923" y="1305341"/>
            <a:ext cx="1085056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开发平台</a:t>
            </a:r>
            <a:r>
              <a:rPr lang="zh-CN" altLang="en-US" dirty="0"/>
              <a:t>： 百度</a:t>
            </a:r>
            <a:r>
              <a:rPr lang="en-US" altLang="zh-CN" dirty="0"/>
              <a:t>AI Studio</a:t>
            </a:r>
          </a:p>
          <a:p>
            <a:endParaRPr lang="en-US" altLang="zh-CN" dirty="0"/>
          </a:p>
          <a:p>
            <a:r>
              <a:rPr lang="zh-CN" altLang="en-US" b="1" dirty="0"/>
              <a:t>开发框架</a:t>
            </a:r>
            <a:r>
              <a:rPr lang="zh-CN" altLang="en-US" dirty="0"/>
              <a:t>： </a:t>
            </a:r>
            <a:r>
              <a:rPr lang="en-US" altLang="zh-CN" dirty="0" err="1"/>
              <a:t>PaddlePaddle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b="1" dirty="0"/>
              <a:t>开发模型</a:t>
            </a:r>
            <a:r>
              <a:rPr lang="zh-CN" altLang="en-US" dirty="0"/>
              <a:t>： </a:t>
            </a:r>
            <a:r>
              <a:rPr lang="en-US" altLang="zh-CN" dirty="0" err="1"/>
              <a:t>PaddleSeg</a:t>
            </a:r>
            <a:r>
              <a:rPr lang="zh-CN" altLang="en-US" dirty="0"/>
              <a:t>是基于飞桨</a:t>
            </a:r>
            <a:r>
              <a:rPr lang="en-US" altLang="zh-CN" dirty="0" err="1"/>
              <a:t>PaddlePaddle</a:t>
            </a:r>
            <a:r>
              <a:rPr lang="zh-CN" altLang="en-US" dirty="0"/>
              <a:t>开发的端到端图像分割开发套件，涵盖了高精度和轻量级等不同方向的大量高质量分割模型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b="1" dirty="0"/>
              <a:t>高精度模型</a:t>
            </a:r>
            <a:r>
              <a:rPr lang="zh-CN" altLang="en-US" dirty="0"/>
              <a:t>：基于半监督标签知识蒸馏方案</a:t>
            </a:r>
            <a:r>
              <a:rPr lang="en-US" altLang="zh-CN" dirty="0"/>
              <a:t>(SSLD)</a:t>
            </a:r>
            <a:r>
              <a:rPr lang="zh-CN" altLang="en-US" dirty="0"/>
              <a:t>训练得到高精度骨干网络，结合前沿的分割技术，提供了</a:t>
            </a:r>
            <a:r>
              <a:rPr lang="en-US" altLang="zh-CN" dirty="0"/>
              <a:t>80+</a:t>
            </a:r>
            <a:r>
              <a:rPr lang="zh-CN" altLang="en-US" dirty="0"/>
              <a:t>的高质量预训练模型，效果优于其他开源实现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b="1" dirty="0"/>
              <a:t>模块化设计</a:t>
            </a:r>
            <a:r>
              <a:rPr lang="zh-CN" altLang="en-US" dirty="0"/>
              <a:t>：支持</a:t>
            </a:r>
            <a:r>
              <a:rPr lang="en-US" altLang="zh-CN" dirty="0"/>
              <a:t>40+</a:t>
            </a:r>
            <a:r>
              <a:rPr lang="zh-CN" altLang="en-US" dirty="0"/>
              <a:t>主流 </a:t>
            </a:r>
            <a:r>
              <a:rPr lang="zh-CN" altLang="en-US" i="1" dirty="0"/>
              <a:t>分割网络</a:t>
            </a:r>
            <a:r>
              <a:rPr lang="zh-CN" altLang="en-US" dirty="0"/>
              <a:t> ，结合模块化设计的 </a:t>
            </a:r>
            <a:r>
              <a:rPr lang="zh-CN" altLang="en-US" i="1" dirty="0"/>
              <a:t>数据增强策略 、骨干网络、损失函数 </a:t>
            </a:r>
            <a:r>
              <a:rPr lang="zh-CN" altLang="en-US" dirty="0"/>
              <a:t>等不同组件，开发者可以基于实际应用场景出发，组装多样化的训练配置，满足不同性能和精度的要求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b="1" i="0" dirty="0">
                <a:effectLst/>
                <a:latin typeface="-apple-system"/>
              </a:rPr>
              <a:t>高性能</a:t>
            </a:r>
            <a:r>
              <a:rPr lang="zh-CN" altLang="en-US" i="0" dirty="0">
                <a:effectLst/>
                <a:latin typeface="-apple-system"/>
              </a:rPr>
              <a:t>：支持多进程异步</a:t>
            </a:r>
            <a:r>
              <a:rPr lang="en-US" altLang="zh-CN" i="0" dirty="0">
                <a:effectLst/>
                <a:latin typeface="-apple-system"/>
              </a:rPr>
              <a:t>I/O</a:t>
            </a:r>
            <a:r>
              <a:rPr lang="zh-CN" altLang="en-US" i="0" dirty="0">
                <a:effectLst/>
                <a:latin typeface="-apple-system"/>
              </a:rPr>
              <a:t>、多卡并行训练、评估等加速策略，结合飞桨核心框架的显存优化功能，可大幅度减少分割模型的训练开销，让开发者更低成本、更高效地完成图像分割训练。</a:t>
            </a:r>
            <a:endParaRPr lang="en-US" altLang="zh-CN" i="0" dirty="0">
              <a:effectLst/>
              <a:latin typeface="-apple-system"/>
            </a:endParaRPr>
          </a:p>
          <a:p>
            <a:endParaRPr lang="en-US" altLang="zh-CN" dirty="0">
              <a:latin typeface="-apple-system"/>
            </a:endParaRPr>
          </a:p>
          <a:p>
            <a:r>
              <a:rPr lang="en-US" altLang="zh-CN" b="1" dirty="0">
                <a:latin typeface="-apple-system"/>
              </a:rPr>
              <a:t>Reference</a:t>
            </a:r>
            <a:r>
              <a:rPr lang="zh-CN" altLang="en-US" dirty="0">
                <a:latin typeface="-apple-system"/>
              </a:rPr>
              <a:t>：“</a:t>
            </a:r>
            <a:r>
              <a:rPr lang="en-US" altLang="zh-CN" dirty="0" err="1">
                <a:latin typeface="-apple-system"/>
              </a:rPr>
              <a:t>PaddleSeg</a:t>
            </a:r>
            <a:r>
              <a:rPr lang="en-US" altLang="zh-CN" dirty="0">
                <a:latin typeface="-apple-system"/>
              </a:rPr>
              <a:t>: A High-Efficient Development Toolkit for Image Segmentation</a:t>
            </a:r>
            <a:r>
              <a:rPr lang="zh-CN" altLang="en-US" dirty="0">
                <a:latin typeface="-apple-system"/>
              </a:rPr>
              <a:t>”</a:t>
            </a:r>
            <a:endParaRPr lang="en-US" altLang="zh-CN" dirty="0">
              <a:latin typeface="-apple-system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09511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D66499-C586-4F9F-BC78-7B5692A1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开发计划时间线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426DA2-686A-46A6-811D-3AFE7B4A3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F62D616A-8921-4E5C-A67B-DD3C2E4300C4}"/>
              </a:ext>
            </a:extLst>
          </p:cNvPr>
          <p:cNvCxnSpPr>
            <a:cxnSpLocks/>
          </p:cNvCxnSpPr>
          <p:nvPr/>
        </p:nvCxnSpPr>
        <p:spPr>
          <a:xfrm>
            <a:off x="860928" y="3605367"/>
            <a:ext cx="10579391" cy="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F61CFB31-9775-42FB-83A0-11D42EED9126}"/>
              </a:ext>
            </a:extLst>
          </p:cNvPr>
          <p:cNvCxnSpPr/>
          <p:nvPr/>
        </p:nvCxnSpPr>
        <p:spPr>
          <a:xfrm>
            <a:off x="1715294" y="3429635"/>
            <a:ext cx="0" cy="1757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8436C273-8A9D-4F64-8BD4-32B710BB0F59}"/>
              </a:ext>
            </a:extLst>
          </p:cNvPr>
          <p:cNvSpPr txBox="1"/>
          <p:nvPr/>
        </p:nvSpPr>
        <p:spPr>
          <a:xfrm>
            <a:off x="738982" y="2839085"/>
            <a:ext cx="1952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三月中旬</a:t>
            </a:r>
            <a:r>
              <a:rPr lang="en-US" altLang="zh-CN" dirty="0"/>
              <a:t>-</a:t>
            </a:r>
            <a:r>
              <a:rPr lang="zh-CN" altLang="en-US" dirty="0"/>
              <a:t>三月底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CBD2D52-7C8B-456B-8C75-824255CB5E0B}"/>
              </a:ext>
            </a:extLst>
          </p:cNvPr>
          <p:cNvSpPr txBox="1"/>
          <p:nvPr/>
        </p:nvSpPr>
        <p:spPr>
          <a:xfrm>
            <a:off x="669924" y="3826585"/>
            <a:ext cx="2090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思考项目选题以及制定项目开发计划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10553B7F-9006-45DA-A2E0-4ED65629513E}"/>
              </a:ext>
            </a:extLst>
          </p:cNvPr>
          <p:cNvCxnSpPr/>
          <p:nvPr/>
        </p:nvCxnSpPr>
        <p:spPr>
          <a:xfrm>
            <a:off x="3711970" y="3423429"/>
            <a:ext cx="0" cy="1757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>
            <a:extLst>
              <a:ext uri="{FF2B5EF4-FFF2-40B4-BE49-F238E27FC236}">
                <a16:creationId xmlns:a16="http://schemas.microsoft.com/office/drawing/2014/main" id="{7DA56A22-4A57-46AF-BFB2-F10C34F6D089}"/>
              </a:ext>
            </a:extLst>
          </p:cNvPr>
          <p:cNvSpPr txBox="1"/>
          <p:nvPr/>
        </p:nvSpPr>
        <p:spPr>
          <a:xfrm>
            <a:off x="3140472" y="2851929"/>
            <a:ext cx="11429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四月上旬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FCC9412C-BF62-4B00-8EA6-C0B1BBBDDD13}"/>
              </a:ext>
            </a:extLst>
          </p:cNvPr>
          <p:cNvSpPr txBox="1"/>
          <p:nvPr/>
        </p:nvSpPr>
        <p:spPr>
          <a:xfrm>
            <a:off x="2914251" y="3958878"/>
            <a:ext cx="1616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详细需求分析</a:t>
            </a: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8E630C14-9285-4F9E-9E7B-DACDCE557A48}"/>
              </a:ext>
            </a:extLst>
          </p:cNvPr>
          <p:cNvCxnSpPr>
            <a:cxnSpLocks/>
          </p:cNvCxnSpPr>
          <p:nvPr/>
        </p:nvCxnSpPr>
        <p:spPr>
          <a:xfrm>
            <a:off x="5601493" y="3448685"/>
            <a:ext cx="0" cy="1566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48">
            <a:extLst>
              <a:ext uri="{FF2B5EF4-FFF2-40B4-BE49-F238E27FC236}">
                <a16:creationId xmlns:a16="http://schemas.microsoft.com/office/drawing/2014/main" id="{B6EEA478-F5A7-4BE5-9720-ED50CF058601}"/>
              </a:ext>
            </a:extLst>
          </p:cNvPr>
          <p:cNvSpPr txBox="1"/>
          <p:nvPr/>
        </p:nvSpPr>
        <p:spPr>
          <a:xfrm>
            <a:off x="4625181" y="2858135"/>
            <a:ext cx="1952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四月中旬</a:t>
            </a:r>
            <a:r>
              <a:rPr lang="en-US" altLang="zh-CN" dirty="0"/>
              <a:t>-</a:t>
            </a:r>
            <a:r>
              <a:rPr lang="zh-CN" altLang="en-US" dirty="0"/>
              <a:t>四月底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A779458C-C79B-4634-8C9C-39C10A289C19}"/>
              </a:ext>
            </a:extLst>
          </p:cNvPr>
          <p:cNvSpPr txBox="1"/>
          <p:nvPr/>
        </p:nvSpPr>
        <p:spPr>
          <a:xfrm>
            <a:off x="4908223" y="3975791"/>
            <a:ext cx="13344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概要设计及详细设计</a:t>
            </a:r>
          </a:p>
        </p:txBody>
      </p: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E1490CAF-1F79-4CB3-BA21-CB6F6F8E411D}"/>
              </a:ext>
            </a:extLst>
          </p:cNvPr>
          <p:cNvCxnSpPr/>
          <p:nvPr/>
        </p:nvCxnSpPr>
        <p:spPr>
          <a:xfrm>
            <a:off x="7663657" y="3429635"/>
            <a:ext cx="0" cy="1757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本框 51">
            <a:extLst>
              <a:ext uri="{FF2B5EF4-FFF2-40B4-BE49-F238E27FC236}">
                <a16:creationId xmlns:a16="http://schemas.microsoft.com/office/drawing/2014/main" id="{85E6BAC1-966E-47A4-97A4-61284F25625E}"/>
              </a:ext>
            </a:extLst>
          </p:cNvPr>
          <p:cNvSpPr txBox="1"/>
          <p:nvPr/>
        </p:nvSpPr>
        <p:spPr>
          <a:xfrm>
            <a:off x="7070722" y="2839085"/>
            <a:ext cx="11858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四月</a:t>
            </a:r>
            <a:r>
              <a:rPr lang="en-US" altLang="zh-CN" dirty="0"/>
              <a:t>-</a:t>
            </a:r>
            <a:r>
              <a:rPr lang="zh-CN" altLang="en-US" dirty="0"/>
              <a:t>五月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08F54302-DA40-4441-9636-3A78269D9C70}"/>
              </a:ext>
            </a:extLst>
          </p:cNvPr>
          <p:cNvSpPr txBox="1"/>
          <p:nvPr/>
        </p:nvSpPr>
        <p:spPr>
          <a:xfrm>
            <a:off x="6736634" y="3916979"/>
            <a:ext cx="18540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项目框架搭建 </a:t>
            </a:r>
            <a:endParaRPr lang="en-US" altLang="zh-CN" dirty="0"/>
          </a:p>
          <a:p>
            <a:pPr algn="ctr"/>
            <a:r>
              <a:rPr lang="zh-CN" altLang="en-US" dirty="0"/>
              <a:t>前后端开发</a:t>
            </a:r>
            <a:endParaRPr lang="en-US" altLang="zh-CN" dirty="0"/>
          </a:p>
          <a:p>
            <a:pPr algn="ctr"/>
            <a:r>
              <a:rPr lang="zh-CN" altLang="en-US" dirty="0"/>
              <a:t>模型搭建及训练</a:t>
            </a:r>
          </a:p>
        </p:txBody>
      </p: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A3E501C3-A7D5-49BD-A7B7-165251C8E023}"/>
              </a:ext>
            </a:extLst>
          </p:cNvPr>
          <p:cNvCxnSpPr/>
          <p:nvPr/>
        </p:nvCxnSpPr>
        <p:spPr>
          <a:xfrm>
            <a:off x="9712143" y="3429635"/>
            <a:ext cx="0" cy="1757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>
            <a:extLst>
              <a:ext uri="{FF2B5EF4-FFF2-40B4-BE49-F238E27FC236}">
                <a16:creationId xmlns:a16="http://schemas.microsoft.com/office/drawing/2014/main" id="{419D222D-2305-4124-B768-C1D0620D140C}"/>
              </a:ext>
            </a:extLst>
          </p:cNvPr>
          <p:cNvSpPr txBox="1"/>
          <p:nvPr/>
        </p:nvSpPr>
        <p:spPr>
          <a:xfrm>
            <a:off x="9119208" y="2839085"/>
            <a:ext cx="11858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五月</a:t>
            </a:r>
            <a:r>
              <a:rPr lang="en-US" altLang="zh-CN" dirty="0"/>
              <a:t>-</a:t>
            </a:r>
            <a:r>
              <a:rPr lang="zh-CN" altLang="en-US" dirty="0"/>
              <a:t>六月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5292CFA1-7176-4C5F-B15E-E9297CB7885C}"/>
              </a:ext>
            </a:extLst>
          </p:cNvPr>
          <p:cNvSpPr txBox="1"/>
          <p:nvPr/>
        </p:nvSpPr>
        <p:spPr>
          <a:xfrm>
            <a:off x="8785120" y="3916979"/>
            <a:ext cx="18540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完善平台功能</a:t>
            </a:r>
            <a:endParaRPr lang="en-US" altLang="zh-CN" dirty="0"/>
          </a:p>
          <a:p>
            <a:pPr algn="ctr"/>
            <a:r>
              <a:rPr lang="zh-CN" altLang="en-US" dirty="0"/>
              <a:t>模型部署</a:t>
            </a:r>
            <a:endParaRPr lang="en-US" altLang="zh-CN" dirty="0"/>
          </a:p>
          <a:p>
            <a:pPr algn="ctr"/>
            <a:r>
              <a:rPr lang="zh-CN" altLang="en-US" dirty="0"/>
              <a:t>项目上线</a:t>
            </a:r>
          </a:p>
        </p:txBody>
      </p:sp>
    </p:spTree>
    <p:extLst>
      <p:ext uri="{BB962C8B-B14F-4D97-AF65-F5344CB8AC3E}">
        <p14:creationId xmlns:p14="http://schemas.microsoft.com/office/powerpoint/2010/main" val="464820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感谢观看</a:t>
            </a: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B5AA71EC-3E22-4321-8A7A-F8E58865068F}"/>
              </a:ext>
            </a:extLst>
          </p:cNvPr>
          <p:cNvSpPr txBox="1">
            <a:spLocks/>
          </p:cNvSpPr>
          <p:nvPr/>
        </p:nvSpPr>
        <p:spPr>
          <a:xfrm>
            <a:off x="3268795" y="3881044"/>
            <a:ext cx="5654410" cy="6394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/>
              <a:t>汇报人：秦旭坤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işľidè">
            <a:extLst>
              <a:ext uri="{FF2B5EF4-FFF2-40B4-BE49-F238E27FC236}">
                <a16:creationId xmlns:a16="http://schemas.microsoft.com/office/drawing/2014/main" id="{5FEAC456-463A-4335-80E2-292838447F14}"/>
              </a:ext>
            </a:extLst>
          </p:cNvPr>
          <p:cNvGrpSpPr/>
          <p:nvPr/>
        </p:nvGrpSpPr>
        <p:grpSpPr>
          <a:xfrm>
            <a:off x="2209076" y="-24064"/>
            <a:ext cx="7773850" cy="2761751"/>
            <a:chOff x="803412" y="0"/>
            <a:chExt cx="7773848" cy="2761750"/>
          </a:xfrm>
        </p:grpSpPr>
        <p:sp>
          <p:nvSpPr>
            <p:cNvPr id="32" name="išḻiḍê">
              <a:extLst>
                <a:ext uri="{FF2B5EF4-FFF2-40B4-BE49-F238E27FC236}">
                  <a16:creationId xmlns:a16="http://schemas.microsoft.com/office/drawing/2014/main" id="{2B17A677-CE84-4483-B9F4-5D3E9882E865}"/>
                </a:ext>
              </a:extLst>
            </p:cNvPr>
            <p:cNvSpPr/>
            <p:nvPr/>
          </p:nvSpPr>
          <p:spPr bwMode="auto">
            <a:xfrm>
              <a:off x="3530190" y="5172"/>
              <a:ext cx="5047070" cy="1940094"/>
            </a:xfrm>
            <a:prstGeom prst="parallelogram">
              <a:avLst>
                <a:gd name="adj" fmla="val 140753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$ḷíḍè">
              <a:extLst>
                <a:ext uri="{FF2B5EF4-FFF2-40B4-BE49-F238E27FC236}">
                  <a16:creationId xmlns:a16="http://schemas.microsoft.com/office/drawing/2014/main" id="{433E0DDD-1134-4067-A2F3-174115C8B560}"/>
                </a:ext>
              </a:extLst>
            </p:cNvPr>
            <p:cNvSpPr/>
            <p:nvPr/>
          </p:nvSpPr>
          <p:spPr bwMode="auto">
            <a:xfrm flipH="1">
              <a:off x="803412" y="0"/>
              <a:ext cx="5047070" cy="2761750"/>
            </a:xfrm>
            <a:custGeom>
              <a:avLst/>
              <a:gdLst>
                <a:gd name="connsiteX0" fmla="*/ 5047070 w 5047070"/>
                <a:gd name="connsiteY0" fmla="*/ 0 h 2761750"/>
                <a:gd name="connsiteX1" fmla="*/ 2730741 w 5047070"/>
                <a:gd name="connsiteY1" fmla="*/ 0 h 2761750"/>
                <a:gd name="connsiteX2" fmla="*/ 0 w 5047070"/>
                <a:gd name="connsiteY2" fmla="*/ 1940094 h 2761750"/>
                <a:gd name="connsiteX3" fmla="*/ 1156506 w 5047070"/>
                <a:gd name="connsiteY3" fmla="*/ 2761750 h 2761750"/>
                <a:gd name="connsiteX4" fmla="*/ 2313012 w 5047070"/>
                <a:gd name="connsiteY4" fmla="*/ 1940094 h 2761750"/>
                <a:gd name="connsiteX5" fmla="*/ 2316329 w 5047070"/>
                <a:gd name="connsiteY5" fmla="*/ 1940094 h 276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7070" h="2761750">
                  <a:moveTo>
                    <a:pt x="5047070" y="0"/>
                  </a:moveTo>
                  <a:lnTo>
                    <a:pt x="2730741" y="0"/>
                  </a:lnTo>
                  <a:lnTo>
                    <a:pt x="0" y="1940094"/>
                  </a:lnTo>
                  <a:lnTo>
                    <a:pt x="1156506" y="2761750"/>
                  </a:lnTo>
                  <a:lnTo>
                    <a:pt x="2313012" y="1940094"/>
                  </a:lnTo>
                  <a:lnTo>
                    <a:pt x="2316329" y="1940094"/>
                  </a:lnTo>
                  <a:close/>
                </a:path>
              </a:pathLst>
            </a:custGeom>
            <a:solidFill>
              <a:schemeClr val="tx2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2000"/>
            </a:p>
          </p:txBody>
        </p:sp>
      </p:grpSp>
      <p:sp>
        <p:nvSpPr>
          <p:cNvPr id="4" name="îŝļîḓé">
            <a:extLst>
              <a:ext uri="{FF2B5EF4-FFF2-40B4-BE49-F238E27FC236}">
                <a16:creationId xmlns:a16="http://schemas.microsoft.com/office/drawing/2014/main" id="{0A7865DF-0FB5-4E04-ADB8-68FA5EBD5D23}"/>
              </a:ext>
            </a:extLst>
          </p:cNvPr>
          <p:cNvSpPr/>
          <p:nvPr/>
        </p:nvSpPr>
        <p:spPr>
          <a:xfrm>
            <a:off x="5403985" y="1749569"/>
            <a:ext cx="1384031" cy="501477"/>
          </a:xfrm>
          <a:prstGeom prst="rect">
            <a:avLst/>
          </a:prstGeom>
        </p:spPr>
        <p:txBody>
          <a:bodyPr wrap="none" anchor="ctr" anchorCtr="1">
            <a:normAutofit fontScale="92500" lnSpcReduction="20000"/>
          </a:bodyPr>
          <a:lstStyle/>
          <a:p>
            <a:pPr lvl="0" algn="ctr"/>
            <a:r>
              <a:rPr lang="zh-CN" altLang="en-US" sz="3200" b="1" dirty="0">
                <a:solidFill>
                  <a:prstClr val="white">
                    <a:lumMod val="100000"/>
                  </a:prstClr>
                </a:solidFill>
              </a:rPr>
              <a:t>目录</a:t>
            </a:r>
            <a:endParaRPr lang="en-US" altLang="zh-CN" sz="3200" b="1" dirty="0">
              <a:solidFill>
                <a:prstClr val="white">
                  <a:lumMod val="100000"/>
                </a:prstClr>
              </a:solidFill>
            </a:endParaRPr>
          </a:p>
        </p:txBody>
      </p:sp>
      <p:grpSp>
        <p:nvGrpSpPr>
          <p:cNvPr id="5" name="îšľîďê">
            <a:extLst>
              <a:ext uri="{FF2B5EF4-FFF2-40B4-BE49-F238E27FC236}">
                <a16:creationId xmlns:a16="http://schemas.microsoft.com/office/drawing/2014/main" id="{83500D20-11C5-4F1B-B83A-A649163B24A6}"/>
              </a:ext>
            </a:extLst>
          </p:cNvPr>
          <p:cNvGrpSpPr/>
          <p:nvPr/>
        </p:nvGrpSpPr>
        <p:grpSpPr>
          <a:xfrm>
            <a:off x="2181708" y="3002533"/>
            <a:ext cx="2299974" cy="1555561"/>
            <a:chOff x="1266824" y="3136815"/>
            <a:chExt cx="2299974" cy="1555561"/>
          </a:xfrm>
        </p:grpSpPr>
        <p:sp>
          <p:nvSpPr>
            <p:cNvPr id="30" name="íṧ1îḍè">
              <a:extLst>
                <a:ext uri="{FF2B5EF4-FFF2-40B4-BE49-F238E27FC236}">
                  <a16:creationId xmlns:a16="http://schemas.microsoft.com/office/drawing/2014/main" id="{B2D63554-1C06-4548-9E08-951D4EDC44DB}"/>
                </a:ext>
              </a:extLst>
            </p:cNvPr>
            <p:cNvSpPr/>
            <p:nvPr/>
          </p:nvSpPr>
          <p:spPr bwMode="auto">
            <a:xfrm>
              <a:off x="1847860" y="3136815"/>
              <a:ext cx="1137902" cy="1137902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Sḷîďé">
              <a:extLst>
                <a:ext uri="{FF2B5EF4-FFF2-40B4-BE49-F238E27FC236}">
                  <a16:creationId xmlns:a16="http://schemas.microsoft.com/office/drawing/2014/main" id="{DE261127-DE33-4CD3-82E4-4D46C8332EC7}"/>
                </a:ext>
              </a:extLst>
            </p:cNvPr>
            <p:cNvSpPr txBox="1"/>
            <p:nvPr/>
          </p:nvSpPr>
          <p:spPr>
            <a:xfrm>
              <a:off x="1266824" y="4353822"/>
              <a:ext cx="2299974" cy="338554"/>
            </a:xfrm>
            <a:prstGeom prst="rect">
              <a:avLst/>
            </a:prstGeom>
            <a:noFill/>
          </p:spPr>
          <p:txBody>
            <a:bodyPr wrap="none" anchor="b" anchorCtr="1">
              <a:normAutofit lnSpcReduction="10000"/>
            </a:bodyPr>
            <a:lstStyle/>
            <a:p>
              <a:pPr algn="ctr"/>
              <a:r>
                <a:rPr lang="zh-CN" altLang="en-US" b="1" dirty="0"/>
                <a:t>项目题目</a:t>
              </a:r>
            </a:p>
          </p:txBody>
        </p:sp>
      </p:grpSp>
      <p:grpSp>
        <p:nvGrpSpPr>
          <p:cNvPr id="7" name="íṩḷíḍê">
            <a:extLst>
              <a:ext uri="{FF2B5EF4-FFF2-40B4-BE49-F238E27FC236}">
                <a16:creationId xmlns:a16="http://schemas.microsoft.com/office/drawing/2014/main" id="{B3162C7F-EE56-479B-9546-D5A8EBB97D39}"/>
              </a:ext>
            </a:extLst>
          </p:cNvPr>
          <p:cNvGrpSpPr/>
          <p:nvPr/>
        </p:nvGrpSpPr>
        <p:grpSpPr>
          <a:xfrm>
            <a:off x="7734812" y="3002533"/>
            <a:ext cx="2299974" cy="1555561"/>
            <a:chOff x="6172409" y="3136815"/>
            <a:chExt cx="2299974" cy="1555561"/>
          </a:xfrm>
        </p:grpSpPr>
        <p:grpSp>
          <p:nvGrpSpPr>
            <p:cNvPr id="17" name="í$ḻîďe">
              <a:extLst>
                <a:ext uri="{FF2B5EF4-FFF2-40B4-BE49-F238E27FC236}">
                  <a16:creationId xmlns:a16="http://schemas.microsoft.com/office/drawing/2014/main" id="{AC31011D-9D85-4186-BAB0-5F78F86434E1}"/>
                </a:ext>
              </a:extLst>
            </p:cNvPr>
            <p:cNvGrpSpPr/>
            <p:nvPr/>
          </p:nvGrpSpPr>
          <p:grpSpPr>
            <a:xfrm>
              <a:off x="6753445" y="3136815"/>
              <a:ext cx="1137902" cy="1137902"/>
              <a:chOff x="5357664" y="3284984"/>
              <a:chExt cx="1512168" cy="1512168"/>
            </a:xfrm>
          </p:grpSpPr>
          <p:sp>
            <p:nvSpPr>
              <p:cNvPr id="20" name="îšḻïḑè">
                <a:extLst>
                  <a:ext uri="{FF2B5EF4-FFF2-40B4-BE49-F238E27FC236}">
                    <a16:creationId xmlns:a16="http://schemas.microsoft.com/office/drawing/2014/main" id="{4F535BA4-F263-471B-A5C3-3FDBDD6204D9}"/>
                  </a:ext>
                </a:extLst>
              </p:cNvPr>
              <p:cNvSpPr/>
              <p:nvPr/>
            </p:nvSpPr>
            <p:spPr bwMode="auto">
              <a:xfrm>
                <a:off x="5357664" y="3284984"/>
                <a:ext cx="1512168" cy="1512168"/>
              </a:xfrm>
              <a:prstGeom prst="ellipse">
                <a:avLst/>
              </a:prstGeom>
              <a:solidFill>
                <a:schemeClr val="accent3">
                  <a:lumMod val="10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ŝlíḍê">
                <a:extLst>
                  <a:ext uri="{FF2B5EF4-FFF2-40B4-BE49-F238E27FC236}">
                    <a16:creationId xmlns:a16="http://schemas.microsoft.com/office/drawing/2014/main" id="{FEC209BB-BFF1-4079-AF32-DE496D88C36E}"/>
                  </a:ext>
                </a:extLst>
              </p:cNvPr>
              <p:cNvSpPr/>
              <p:nvPr/>
            </p:nvSpPr>
            <p:spPr bwMode="auto">
              <a:xfrm>
                <a:off x="5757614" y="3739541"/>
                <a:ext cx="712268" cy="603054"/>
              </a:xfrm>
              <a:custGeom>
                <a:avLst/>
                <a:gdLst>
                  <a:gd name="T0" fmla="*/ 294416 w 1263650"/>
                  <a:gd name="T1" fmla="*/ 1098599 h 1069975"/>
                  <a:gd name="T2" fmla="*/ 1320142 w 1263650"/>
                  <a:gd name="T3" fmla="*/ 878240 h 1069975"/>
                  <a:gd name="T4" fmla="*/ 1613379 w 1263650"/>
                  <a:gd name="T5" fmla="*/ 878240 h 1069975"/>
                  <a:gd name="T6" fmla="*/ 74190 w 1263650"/>
                  <a:gd name="T7" fmla="*/ 1612900 h 1069975"/>
                  <a:gd name="T8" fmla="*/ 1538839 w 1263650"/>
                  <a:gd name="T9" fmla="*/ 732266 h 1069975"/>
                  <a:gd name="T10" fmla="*/ 1392852 w 1263650"/>
                  <a:gd name="T11" fmla="*/ 732266 h 1069975"/>
                  <a:gd name="T12" fmla="*/ 514542 w 1263650"/>
                  <a:gd name="T13" fmla="*/ 1026609 h 1069975"/>
                  <a:gd name="T14" fmla="*/ 725543 w 1263650"/>
                  <a:gd name="T15" fmla="*/ 146518 h 1069975"/>
                  <a:gd name="T16" fmla="*/ 708392 w 1263650"/>
                  <a:gd name="T17" fmla="*/ 149712 h 1069975"/>
                  <a:gd name="T18" fmla="*/ 694033 w 1263650"/>
                  <a:gd name="T19" fmla="*/ 155302 h 1069975"/>
                  <a:gd name="T20" fmla="*/ 683263 w 1263650"/>
                  <a:gd name="T21" fmla="*/ 163287 h 1069975"/>
                  <a:gd name="T22" fmla="*/ 674487 w 1263650"/>
                  <a:gd name="T23" fmla="*/ 172868 h 1069975"/>
                  <a:gd name="T24" fmla="*/ 665314 w 1263650"/>
                  <a:gd name="T25" fmla="*/ 189636 h 1069975"/>
                  <a:gd name="T26" fmla="*/ 660528 w 1263650"/>
                  <a:gd name="T27" fmla="*/ 208399 h 1069975"/>
                  <a:gd name="T28" fmla="*/ 659331 w 1263650"/>
                  <a:gd name="T29" fmla="*/ 293036 h 1069975"/>
                  <a:gd name="T30" fmla="*/ 1245270 w 1263650"/>
                  <a:gd name="T31" fmla="*/ 213190 h 1069975"/>
                  <a:gd name="T32" fmla="*/ 1242078 w 1263650"/>
                  <a:gd name="T33" fmla="*/ 195624 h 1069975"/>
                  <a:gd name="T34" fmla="*/ 1236494 w 1263650"/>
                  <a:gd name="T35" fmla="*/ 181252 h 1069975"/>
                  <a:gd name="T36" fmla="*/ 1228517 w 1263650"/>
                  <a:gd name="T37" fmla="*/ 170472 h 1069975"/>
                  <a:gd name="T38" fmla="*/ 1219343 w 1263650"/>
                  <a:gd name="T39" fmla="*/ 161689 h 1069975"/>
                  <a:gd name="T40" fmla="*/ 1201792 w 1263650"/>
                  <a:gd name="T41" fmla="*/ 152507 h 1069975"/>
                  <a:gd name="T42" fmla="*/ 1183446 w 1263650"/>
                  <a:gd name="T43" fmla="*/ 147716 h 1069975"/>
                  <a:gd name="T44" fmla="*/ 732324 w 1263650"/>
                  <a:gd name="T45" fmla="*/ 146518 h 1069975"/>
                  <a:gd name="T46" fmla="*/ 1172276 w 1263650"/>
                  <a:gd name="T47" fmla="*/ 0 h 1069975"/>
                  <a:gd name="T48" fmla="*/ 1202192 w 1263650"/>
                  <a:gd name="T49" fmla="*/ 1996 h 1069975"/>
                  <a:gd name="T50" fmla="*/ 1232108 w 1263650"/>
                  <a:gd name="T51" fmla="*/ 7985 h 1069975"/>
                  <a:gd name="T52" fmla="*/ 1260826 w 1263650"/>
                  <a:gd name="T53" fmla="*/ 17566 h 1069975"/>
                  <a:gd name="T54" fmla="*/ 1288348 w 1263650"/>
                  <a:gd name="T55" fmla="*/ 31939 h 1069975"/>
                  <a:gd name="T56" fmla="*/ 1313875 w 1263650"/>
                  <a:gd name="T57" fmla="*/ 49106 h 1069975"/>
                  <a:gd name="T58" fmla="*/ 1337010 w 1263650"/>
                  <a:gd name="T59" fmla="*/ 70665 h 1069975"/>
                  <a:gd name="T60" fmla="*/ 1356953 w 1263650"/>
                  <a:gd name="T61" fmla="*/ 96216 h 1069975"/>
                  <a:gd name="T62" fmla="*/ 1372509 w 1263650"/>
                  <a:gd name="T63" fmla="*/ 124960 h 1069975"/>
                  <a:gd name="T64" fmla="*/ 1384076 w 1263650"/>
                  <a:gd name="T65" fmla="*/ 157697 h 1069975"/>
                  <a:gd name="T66" fmla="*/ 1390857 w 1263650"/>
                  <a:gd name="T67" fmla="*/ 194027 h 1069975"/>
                  <a:gd name="T68" fmla="*/ 1392054 w 1263650"/>
                  <a:gd name="T69" fmla="*/ 283854 h 1069975"/>
                  <a:gd name="T70" fmla="*/ 1905000 w 1263650"/>
                  <a:gd name="T71" fmla="*/ 806451 h 1069975"/>
                  <a:gd name="T72" fmla="*/ 1318661 w 1263650"/>
                  <a:gd name="T73" fmla="*/ 659931 h 1069975"/>
                  <a:gd name="T74" fmla="*/ 585939 w 1263650"/>
                  <a:gd name="T75" fmla="*/ 659931 h 1069975"/>
                  <a:gd name="T76" fmla="*/ 0 w 1263650"/>
                  <a:gd name="T77" fmla="*/ 806451 h 1069975"/>
                  <a:gd name="T78" fmla="*/ 512946 w 1263650"/>
                  <a:gd name="T79" fmla="*/ 219578 h 1069975"/>
                  <a:gd name="T80" fmla="*/ 514940 w 1263650"/>
                  <a:gd name="T81" fmla="*/ 189636 h 1069975"/>
                  <a:gd name="T82" fmla="*/ 520924 w 1263650"/>
                  <a:gd name="T83" fmla="*/ 159693 h 1069975"/>
                  <a:gd name="T84" fmla="*/ 530496 w 1263650"/>
                  <a:gd name="T85" fmla="*/ 130548 h 1069975"/>
                  <a:gd name="T86" fmla="*/ 544856 w 1263650"/>
                  <a:gd name="T87" fmla="*/ 103002 h 1069975"/>
                  <a:gd name="T88" fmla="*/ 562007 w 1263650"/>
                  <a:gd name="T89" fmla="*/ 77451 h 1069975"/>
                  <a:gd name="T90" fmla="*/ 583545 w 1263650"/>
                  <a:gd name="T91" fmla="*/ 55095 h 1069975"/>
                  <a:gd name="T92" fmla="*/ 609074 w 1263650"/>
                  <a:gd name="T93" fmla="*/ 35132 h 1069975"/>
                  <a:gd name="T94" fmla="*/ 637792 w 1263650"/>
                  <a:gd name="T95" fmla="*/ 19162 h 1069975"/>
                  <a:gd name="T96" fmla="*/ 670498 w 1263650"/>
                  <a:gd name="T97" fmla="*/ 7585 h 1069975"/>
                  <a:gd name="T98" fmla="*/ 706795 w 1263650"/>
                  <a:gd name="T99" fmla="*/ 1197 h 106997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263650" h="1069975">
                    <a:moveTo>
                      <a:pt x="49213" y="582612"/>
                    </a:moveTo>
                    <a:lnTo>
                      <a:pt x="195296" y="582612"/>
                    </a:lnTo>
                    <a:lnTo>
                      <a:pt x="195296" y="728795"/>
                    </a:lnTo>
                    <a:lnTo>
                      <a:pt x="389544" y="728795"/>
                    </a:lnTo>
                    <a:lnTo>
                      <a:pt x="389544" y="582612"/>
                    </a:lnTo>
                    <a:lnTo>
                      <a:pt x="875694" y="582612"/>
                    </a:lnTo>
                    <a:lnTo>
                      <a:pt x="875694" y="728795"/>
                    </a:lnTo>
                    <a:lnTo>
                      <a:pt x="1070208" y="728795"/>
                    </a:lnTo>
                    <a:lnTo>
                      <a:pt x="1070208" y="582612"/>
                    </a:lnTo>
                    <a:lnTo>
                      <a:pt x="1216026" y="582612"/>
                    </a:lnTo>
                    <a:lnTo>
                      <a:pt x="1216026" y="1069975"/>
                    </a:lnTo>
                    <a:lnTo>
                      <a:pt x="49213" y="1069975"/>
                    </a:lnTo>
                    <a:lnTo>
                      <a:pt x="49213" y="582612"/>
                    </a:lnTo>
                    <a:close/>
                    <a:moveTo>
                      <a:pt x="923925" y="485775"/>
                    </a:moveTo>
                    <a:lnTo>
                      <a:pt x="1020763" y="485775"/>
                    </a:lnTo>
                    <a:lnTo>
                      <a:pt x="1020763" y="681038"/>
                    </a:lnTo>
                    <a:lnTo>
                      <a:pt x="923925" y="681038"/>
                    </a:lnTo>
                    <a:lnTo>
                      <a:pt x="923925" y="485775"/>
                    </a:lnTo>
                    <a:close/>
                    <a:moveTo>
                      <a:pt x="244475" y="485775"/>
                    </a:moveTo>
                    <a:lnTo>
                      <a:pt x="341313" y="485775"/>
                    </a:lnTo>
                    <a:lnTo>
                      <a:pt x="341313" y="681038"/>
                    </a:lnTo>
                    <a:lnTo>
                      <a:pt x="244475" y="681038"/>
                    </a:lnTo>
                    <a:lnTo>
                      <a:pt x="244475" y="485775"/>
                    </a:lnTo>
                    <a:close/>
                    <a:moveTo>
                      <a:pt x="481277" y="97198"/>
                    </a:moveTo>
                    <a:lnTo>
                      <a:pt x="477308" y="97728"/>
                    </a:lnTo>
                    <a:lnTo>
                      <a:pt x="473604" y="98258"/>
                    </a:lnTo>
                    <a:lnTo>
                      <a:pt x="469900" y="99317"/>
                    </a:lnTo>
                    <a:lnTo>
                      <a:pt x="466460" y="100376"/>
                    </a:lnTo>
                    <a:lnTo>
                      <a:pt x="463285" y="101701"/>
                    </a:lnTo>
                    <a:lnTo>
                      <a:pt x="460375" y="103025"/>
                    </a:lnTo>
                    <a:lnTo>
                      <a:pt x="457729" y="104614"/>
                    </a:lnTo>
                    <a:lnTo>
                      <a:pt x="455348" y="106468"/>
                    </a:lnTo>
                    <a:lnTo>
                      <a:pt x="453231" y="108322"/>
                    </a:lnTo>
                    <a:lnTo>
                      <a:pt x="451114" y="110440"/>
                    </a:lnTo>
                    <a:lnTo>
                      <a:pt x="448998" y="112559"/>
                    </a:lnTo>
                    <a:lnTo>
                      <a:pt x="447410" y="114678"/>
                    </a:lnTo>
                    <a:lnTo>
                      <a:pt x="445823" y="117062"/>
                    </a:lnTo>
                    <a:lnTo>
                      <a:pt x="443441" y="121299"/>
                    </a:lnTo>
                    <a:lnTo>
                      <a:pt x="441325" y="125802"/>
                    </a:lnTo>
                    <a:lnTo>
                      <a:pt x="439737" y="130569"/>
                    </a:lnTo>
                    <a:lnTo>
                      <a:pt x="438679" y="134541"/>
                    </a:lnTo>
                    <a:lnTo>
                      <a:pt x="438150" y="138249"/>
                    </a:lnTo>
                    <a:lnTo>
                      <a:pt x="437356" y="143546"/>
                    </a:lnTo>
                    <a:lnTo>
                      <a:pt x="437356" y="145665"/>
                    </a:lnTo>
                    <a:lnTo>
                      <a:pt x="437356" y="194396"/>
                    </a:lnTo>
                    <a:lnTo>
                      <a:pt x="826294" y="194396"/>
                    </a:lnTo>
                    <a:lnTo>
                      <a:pt x="826294" y="145665"/>
                    </a:lnTo>
                    <a:lnTo>
                      <a:pt x="826029" y="141427"/>
                    </a:lnTo>
                    <a:lnTo>
                      <a:pt x="825764" y="137190"/>
                    </a:lnTo>
                    <a:lnTo>
                      <a:pt x="824706" y="133482"/>
                    </a:lnTo>
                    <a:lnTo>
                      <a:pt x="823912" y="129774"/>
                    </a:lnTo>
                    <a:lnTo>
                      <a:pt x="822854" y="126331"/>
                    </a:lnTo>
                    <a:lnTo>
                      <a:pt x="821531" y="123153"/>
                    </a:lnTo>
                    <a:lnTo>
                      <a:pt x="820208" y="120240"/>
                    </a:lnTo>
                    <a:lnTo>
                      <a:pt x="818621" y="117591"/>
                    </a:lnTo>
                    <a:lnTo>
                      <a:pt x="816769" y="115208"/>
                    </a:lnTo>
                    <a:lnTo>
                      <a:pt x="814916" y="113089"/>
                    </a:lnTo>
                    <a:lnTo>
                      <a:pt x="812800" y="110970"/>
                    </a:lnTo>
                    <a:lnTo>
                      <a:pt x="810948" y="108851"/>
                    </a:lnTo>
                    <a:lnTo>
                      <a:pt x="808831" y="107262"/>
                    </a:lnTo>
                    <a:lnTo>
                      <a:pt x="806450" y="105673"/>
                    </a:lnTo>
                    <a:lnTo>
                      <a:pt x="801687" y="103290"/>
                    </a:lnTo>
                    <a:lnTo>
                      <a:pt x="797189" y="101171"/>
                    </a:lnTo>
                    <a:lnTo>
                      <a:pt x="792956" y="99582"/>
                    </a:lnTo>
                    <a:lnTo>
                      <a:pt x="788987" y="98522"/>
                    </a:lnTo>
                    <a:lnTo>
                      <a:pt x="785019" y="97993"/>
                    </a:lnTo>
                    <a:lnTo>
                      <a:pt x="779727" y="97198"/>
                    </a:lnTo>
                    <a:lnTo>
                      <a:pt x="777610" y="97198"/>
                    </a:lnTo>
                    <a:lnTo>
                      <a:pt x="485775" y="97198"/>
                    </a:lnTo>
                    <a:lnTo>
                      <a:pt x="481277" y="97198"/>
                    </a:lnTo>
                    <a:close/>
                    <a:moveTo>
                      <a:pt x="485775" y="0"/>
                    </a:moveTo>
                    <a:lnTo>
                      <a:pt x="777610" y="0"/>
                    </a:lnTo>
                    <a:lnTo>
                      <a:pt x="784225" y="0"/>
                    </a:lnTo>
                    <a:lnTo>
                      <a:pt x="790839" y="530"/>
                    </a:lnTo>
                    <a:lnTo>
                      <a:pt x="797454" y="1324"/>
                    </a:lnTo>
                    <a:lnTo>
                      <a:pt x="804069" y="2383"/>
                    </a:lnTo>
                    <a:lnTo>
                      <a:pt x="810683" y="3708"/>
                    </a:lnTo>
                    <a:lnTo>
                      <a:pt x="817298" y="5297"/>
                    </a:lnTo>
                    <a:lnTo>
                      <a:pt x="823648" y="7151"/>
                    </a:lnTo>
                    <a:lnTo>
                      <a:pt x="830262" y="9269"/>
                    </a:lnTo>
                    <a:lnTo>
                      <a:pt x="836348" y="11653"/>
                    </a:lnTo>
                    <a:lnTo>
                      <a:pt x="842433" y="14566"/>
                    </a:lnTo>
                    <a:lnTo>
                      <a:pt x="848783" y="17745"/>
                    </a:lnTo>
                    <a:lnTo>
                      <a:pt x="854604" y="21188"/>
                    </a:lnTo>
                    <a:lnTo>
                      <a:pt x="860425" y="24631"/>
                    </a:lnTo>
                    <a:lnTo>
                      <a:pt x="866246" y="28603"/>
                    </a:lnTo>
                    <a:lnTo>
                      <a:pt x="871537" y="32576"/>
                    </a:lnTo>
                    <a:lnTo>
                      <a:pt x="876829" y="37343"/>
                    </a:lnTo>
                    <a:lnTo>
                      <a:pt x="882121" y="42110"/>
                    </a:lnTo>
                    <a:lnTo>
                      <a:pt x="886883" y="46878"/>
                    </a:lnTo>
                    <a:lnTo>
                      <a:pt x="891381" y="52174"/>
                    </a:lnTo>
                    <a:lnTo>
                      <a:pt x="895879" y="58001"/>
                    </a:lnTo>
                    <a:lnTo>
                      <a:pt x="900112" y="63828"/>
                    </a:lnTo>
                    <a:lnTo>
                      <a:pt x="903816" y="69919"/>
                    </a:lnTo>
                    <a:lnTo>
                      <a:pt x="907256" y="76275"/>
                    </a:lnTo>
                    <a:lnTo>
                      <a:pt x="910431" y="82897"/>
                    </a:lnTo>
                    <a:lnTo>
                      <a:pt x="913341" y="89783"/>
                    </a:lnTo>
                    <a:lnTo>
                      <a:pt x="915987" y="97198"/>
                    </a:lnTo>
                    <a:lnTo>
                      <a:pt x="918104" y="104614"/>
                    </a:lnTo>
                    <a:lnTo>
                      <a:pt x="920221" y="112294"/>
                    </a:lnTo>
                    <a:lnTo>
                      <a:pt x="921544" y="120240"/>
                    </a:lnTo>
                    <a:lnTo>
                      <a:pt x="922602" y="128715"/>
                    </a:lnTo>
                    <a:lnTo>
                      <a:pt x="923131" y="136925"/>
                    </a:lnTo>
                    <a:lnTo>
                      <a:pt x="923396" y="145665"/>
                    </a:lnTo>
                    <a:lnTo>
                      <a:pt x="923396" y="188305"/>
                    </a:lnTo>
                    <a:lnTo>
                      <a:pt x="923396" y="194396"/>
                    </a:lnTo>
                    <a:lnTo>
                      <a:pt x="1263650" y="194396"/>
                    </a:lnTo>
                    <a:lnTo>
                      <a:pt x="1263650" y="534988"/>
                    </a:lnTo>
                    <a:lnTo>
                      <a:pt x="1069181" y="534988"/>
                    </a:lnTo>
                    <a:lnTo>
                      <a:pt x="1069181" y="437789"/>
                    </a:lnTo>
                    <a:lnTo>
                      <a:pt x="874712" y="437789"/>
                    </a:lnTo>
                    <a:lnTo>
                      <a:pt x="874712" y="534988"/>
                    </a:lnTo>
                    <a:lnTo>
                      <a:pt x="388673" y="534988"/>
                    </a:lnTo>
                    <a:lnTo>
                      <a:pt x="388673" y="437789"/>
                    </a:lnTo>
                    <a:lnTo>
                      <a:pt x="194469" y="437789"/>
                    </a:lnTo>
                    <a:lnTo>
                      <a:pt x="194469" y="534988"/>
                    </a:lnTo>
                    <a:lnTo>
                      <a:pt x="0" y="534988"/>
                    </a:lnTo>
                    <a:lnTo>
                      <a:pt x="0" y="194396"/>
                    </a:lnTo>
                    <a:lnTo>
                      <a:pt x="340254" y="194396"/>
                    </a:lnTo>
                    <a:lnTo>
                      <a:pt x="340254" y="145665"/>
                    </a:lnTo>
                    <a:lnTo>
                      <a:pt x="340254" y="139044"/>
                    </a:lnTo>
                    <a:lnTo>
                      <a:pt x="340783" y="132687"/>
                    </a:lnTo>
                    <a:lnTo>
                      <a:pt x="341577" y="125802"/>
                    </a:lnTo>
                    <a:lnTo>
                      <a:pt x="342635" y="119180"/>
                    </a:lnTo>
                    <a:lnTo>
                      <a:pt x="343958" y="112559"/>
                    </a:lnTo>
                    <a:lnTo>
                      <a:pt x="345546" y="105938"/>
                    </a:lnTo>
                    <a:lnTo>
                      <a:pt x="347398" y="99582"/>
                    </a:lnTo>
                    <a:lnTo>
                      <a:pt x="349514" y="93226"/>
                    </a:lnTo>
                    <a:lnTo>
                      <a:pt x="351896" y="86604"/>
                    </a:lnTo>
                    <a:lnTo>
                      <a:pt x="354806" y="80513"/>
                    </a:lnTo>
                    <a:lnTo>
                      <a:pt x="357981" y="74686"/>
                    </a:lnTo>
                    <a:lnTo>
                      <a:pt x="361421" y="68330"/>
                    </a:lnTo>
                    <a:lnTo>
                      <a:pt x="364860" y="62768"/>
                    </a:lnTo>
                    <a:lnTo>
                      <a:pt x="368829" y="57207"/>
                    </a:lnTo>
                    <a:lnTo>
                      <a:pt x="372798" y="51380"/>
                    </a:lnTo>
                    <a:lnTo>
                      <a:pt x="377560" y="46348"/>
                    </a:lnTo>
                    <a:lnTo>
                      <a:pt x="382323" y="41316"/>
                    </a:lnTo>
                    <a:lnTo>
                      <a:pt x="387085" y="36549"/>
                    </a:lnTo>
                    <a:lnTo>
                      <a:pt x="392377" y="31516"/>
                    </a:lnTo>
                    <a:lnTo>
                      <a:pt x="398198" y="27279"/>
                    </a:lnTo>
                    <a:lnTo>
                      <a:pt x="404019" y="23306"/>
                    </a:lnTo>
                    <a:lnTo>
                      <a:pt x="410104" y="19598"/>
                    </a:lnTo>
                    <a:lnTo>
                      <a:pt x="416454" y="16155"/>
                    </a:lnTo>
                    <a:lnTo>
                      <a:pt x="423069" y="12712"/>
                    </a:lnTo>
                    <a:lnTo>
                      <a:pt x="429948" y="9799"/>
                    </a:lnTo>
                    <a:lnTo>
                      <a:pt x="437356" y="7151"/>
                    </a:lnTo>
                    <a:lnTo>
                      <a:pt x="444764" y="5032"/>
                    </a:lnTo>
                    <a:lnTo>
                      <a:pt x="452437" y="3178"/>
                    </a:lnTo>
                    <a:lnTo>
                      <a:pt x="460375" y="1854"/>
                    </a:lnTo>
                    <a:lnTo>
                      <a:pt x="468841" y="794"/>
                    </a:lnTo>
                    <a:lnTo>
                      <a:pt x="477044" y="265"/>
                    </a:lnTo>
                    <a:lnTo>
                      <a:pt x="48577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8" name="íṡļïḋe">
              <a:extLst>
                <a:ext uri="{FF2B5EF4-FFF2-40B4-BE49-F238E27FC236}">
                  <a16:creationId xmlns:a16="http://schemas.microsoft.com/office/drawing/2014/main" id="{1A0B01DD-D825-468A-AA6B-F236F7EFA338}"/>
                </a:ext>
              </a:extLst>
            </p:cNvPr>
            <p:cNvSpPr txBox="1"/>
            <p:nvPr/>
          </p:nvSpPr>
          <p:spPr>
            <a:xfrm>
              <a:off x="6172409" y="4353822"/>
              <a:ext cx="2299974" cy="338554"/>
            </a:xfrm>
            <a:prstGeom prst="rect">
              <a:avLst/>
            </a:prstGeom>
            <a:noFill/>
          </p:spPr>
          <p:txBody>
            <a:bodyPr wrap="none" anchor="b" anchorCtr="1">
              <a:normAutofit lnSpcReduction="10000"/>
            </a:bodyPr>
            <a:lstStyle/>
            <a:p>
              <a:pPr algn="ctr"/>
              <a:r>
                <a:rPr lang="zh-CN" altLang="en-US" b="1" dirty="0"/>
                <a:t>技术路线</a:t>
              </a:r>
            </a:p>
          </p:txBody>
        </p:sp>
      </p:grp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03F6E88-3AF5-4E81-8BE5-CACC58C13D87}"/>
              </a:ext>
            </a:extLst>
          </p:cNvPr>
          <p:cNvCxnSpPr/>
          <p:nvPr/>
        </p:nvCxnSpPr>
        <p:spPr>
          <a:xfrm>
            <a:off x="4748893" y="3907216"/>
            <a:ext cx="0" cy="1789803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3A3B4A46-7E17-4796-90A4-2D7932F21FAA}"/>
              </a:ext>
            </a:extLst>
          </p:cNvPr>
          <p:cNvCxnSpPr/>
          <p:nvPr/>
        </p:nvCxnSpPr>
        <p:spPr>
          <a:xfrm>
            <a:off x="7538893" y="3907216"/>
            <a:ext cx="0" cy="1789803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ṥlîḋe">
            <a:extLst>
              <a:ext uri="{FF2B5EF4-FFF2-40B4-BE49-F238E27FC236}">
                <a16:creationId xmlns:a16="http://schemas.microsoft.com/office/drawing/2014/main" id="{4015042A-6A69-4EAE-A174-8B605A7187EB}"/>
              </a:ext>
            </a:extLst>
          </p:cNvPr>
          <p:cNvSpPr/>
          <p:nvPr/>
        </p:nvSpPr>
        <p:spPr bwMode="auto">
          <a:xfrm>
            <a:off x="3063705" y="3344586"/>
            <a:ext cx="535980" cy="510073"/>
          </a:xfrm>
          <a:custGeom>
            <a:avLst/>
            <a:gdLst>
              <a:gd name="T0" fmla="*/ 2147483646 w 5871"/>
              <a:gd name="T1" fmla="*/ 2147483646 h 5585"/>
              <a:gd name="T2" fmla="*/ 2147483646 w 5871"/>
              <a:gd name="T3" fmla="*/ 2147483646 h 5585"/>
              <a:gd name="T4" fmla="*/ 2147483646 w 5871"/>
              <a:gd name="T5" fmla="*/ 2147483646 h 5585"/>
              <a:gd name="T6" fmla="*/ 2147483646 w 5871"/>
              <a:gd name="T7" fmla="*/ 2147483646 h 5585"/>
              <a:gd name="T8" fmla="*/ 2147483646 w 5871"/>
              <a:gd name="T9" fmla="*/ 2147483646 h 5585"/>
              <a:gd name="T10" fmla="*/ 2147483646 w 5871"/>
              <a:gd name="T11" fmla="*/ 2147483646 h 5585"/>
              <a:gd name="T12" fmla="*/ 2147483646 w 5871"/>
              <a:gd name="T13" fmla="*/ 2147483646 h 5585"/>
              <a:gd name="T14" fmla="*/ 2147483646 w 5871"/>
              <a:gd name="T15" fmla="*/ 2147483646 h 5585"/>
              <a:gd name="T16" fmla="*/ 2147483646 w 5871"/>
              <a:gd name="T17" fmla="*/ 2147483646 h 5585"/>
              <a:gd name="T18" fmla="*/ 2147483646 w 5871"/>
              <a:gd name="T19" fmla="*/ 2147483646 h 5585"/>
              <a:gd name="T20" fmla="*/ 2147483646 w 5871"/>
              <a:gd name="T21" fmla="*/ 2147483646 h 5585"/>
              <a:gd name="T22" fmla="*/ 2147483646 w 5871"/>
              <a:gd name="T23" fmla="*/ 2147483646 h 5585"/>
              <a:gd name="T24" fmla="*/ 2147483646 w 5871"/>
              <a:gd name="T25" fmla="*/ 2147483646 h 5585"/>
              <a:gd name="T26" fmla="*/ 2147483646 w 5871"/>
              <a:gd name="T27" fmla="*/ 2147483646 h 5585"/>
              <a:gd name="T28" fmla="*/ 2147483646 w 5871"/>
              <a:gd name="T29" fmla="*/ 2147483646 h 5585"/>
              <a:gd name="T30" fmla="*/ 2147483646 w 5871"/>
              <a:gd name="T31" fmla="*/ 2147483646 h 5585"/>
              <a:gd name="T32" fmla="*/ 2147483646 w 5871"/>
              <a:gd name="T33" fmla="*/ 2147483646 h 5585"/>
              <a:gd name="T34" fmla="*/ 2147483646 w 5871"/>
              <a:gd name="T35" fmla="*/ 2147483646 h 5585"/>
              <a:gd name="T36" fmla="*/ 2147483646 w 5871"/>
              <a:gd name="T37" fmla="*/ 2147483646 h 5585"/>
              <a:gd name="T38" fmla="*/ 2147483646 w 5871"/>
              <a:gd name="T39" fmla="*/ 2147483646 h 5585"/>
              <a:gd name="T40" fmla="*/ 2147483646 w 5871"/>
              <a:gd name="T41" fmla="*/ 2147483646 h 5585"/>
              <a:gd name="T42" fmla="*/ 2147483646 w 5871"/>
              <a:gd name="T43" fmla="*/ 2147483646 h 5585"/>
              <a:gd name="T44" fmla="*/ 2147483646 w 5871"/>
              <a:gd name="T45" fmla="*/ 2147483646 h 5585"/>
              <a:gd name="T46" fmla="*/ 2147483646 w 5871"/>
              <a:gd name="T47" fmla="*/ 2147483646 h 5585"/>
              <a:gd name="T48" fmla="*/ 2147483646 w 5871"/>
              <a:gd name="T49" fmla="*/ 2147483646 h 5585"/>
              <a:gd name="T50" fmla="*/ 2147483646 w 5871"/>
              <a:gd name="T51" fmla="*/ 2147483646 h 5585"/>
              <a:gd name="T52" fmla="*/ 2147483646 w 5871"/>
              <a:gd name="T53" fmla="*/ 2147483646 h 5585"/>
              <a:gd name="T54" fmla="*/ 2147483646 w 5871"/>
              <a:gd name="T55" fmla="*/ 2147483646 h 5585"/>
              <a:gd name="T56" fmla="*/ 2147483646 w 5871"/>
              <a:gd name="T57" fmla="*/ 2147483646 h 5585"/>
              <a:gd name="T58" fmla="*/ 2147483646 w 5871"/>
              <a:gd name="T59" fmla="*/ 2147483646 h 5585"/>
              <a:gd name="T60" fmla="*/ 2147483646 w 5871"/>
              <a:gd name="T61" fmla="*/ 2147483646 h 5585"/>
              <a:gd name="T62" fmla="*/ 2147483646 w 5871"/>
              <a:gd name="T63" fmla="*/ 2147483646 h 5585"/>
              <a:gd name="T64" fmla="*/ 2147483646 w 5871"/>
              <a:gd name="T65" fmla="*/ 2147483646 h 5585"/>
              <a:gd name="T66" fmla="*/ 2147483646 w 5871"/>
              <a:gd name="T67" fmla="*/ 2147483646 h 5585"/>
              <a:gd name="T68" fmla="*/ 2147483646 w 5871"/>
              <a:gd name="T69" fmla="*/ 2147483646 h 5585"/>
              <a:gd name="T70" fmla="*/ 2147483646 w 5871"/>
              <a:gd name="T71" fmla="*/ 2147483646 h 5585"/>
              <a:gd name="T72" fmla="*/ 2147483646 w 5871"/>
              <a:gd name="T73" fmla="*/ 2147483646 h 5585"/>
              <a:gd name="T74" fmla="*/ 2147483646 w 5871"/>
              <a:gd name="T75" fmla="*/ 2147483646 h 5585"/>
              <a:gd name="T76" fmla="*/ 2147483646 w 5871"/>
              <a:gd name="T77" fmla="*/ 2147483646 h 5585"/>
              <a:gd name="T78" fmla="*/ 2147483646 w 5871"/>
              <a:gd name="T79" fmla="*/ 2147483646 h 5585"/>
              <a:gd name="T80" fmla="*/ 2147483646 w 5871"/>
              <a:gd name="T81" fmla="*/ 2147483646 h 5585"/>
              <a:gd name="T82" fmla="*/ 2147483646 w 5871"/>
              <a:gd name="T83" fmla="*/ 2147483646 h 5585"/>
              <a:gd name="T84" fmla="*/ 2147483646 w 5871"/>
              <a:gd name="T85" fmla="*/ 2147483646 h 5585"/>
              <a:gd name="T86" fmla="*/ 2147483646 w 5871"/>
              <a:gd name="T87" fmla="*/ 2147483646 h 5585"/>
              <a:gd name="T88" fmla="*/ 2147483646 w 5871"/>
              <a:gd name="T89" fmla="*/ 2147483646 h 5585"/>
              <a:gd name="T90" fmla="*/ 2147483646 w 5871"/>
              <a:gd name="T91" fmla="*/ 2147483646 h 5585"/>
              <a:gd name="T92" fmla="*/ 2147483646 w 5871"/>
              <a:gd name="T93" fmla="*/ 2147483646 h 5585"/>
              <a:gd name="T94" fmla="*/ 2147483646 w 5871"/>
              <a:gd name="T95" fmla="*/ 2147483646 h 5585"/>
              <a:gd name="T96" fmla="*/ 2147483646 w 5871"/>
              <a:gd name="T97" fmla="*/ 2147483646 h 5585"/>
              <a:gd name="T98" fmla="*/ 2147483646 w 5871"/>
              <a:gd name="T99" fmla="*/ 2147483646 h 5585"/>
              <a:gd name="T100" fmla="*/ 2147483646 w 5871"/>
              <a:gd name="T101" fmla="*/ 2147483646 h 5585"/>
              <a:gd name="T102" fmla="*/ 2147483646 w 5871"/>
              <a:gd name="T103" fmla="*/ 2147483646 h 5585"/>
              <a:gd name="T104" fmla="*/ 0 w 5871"/>
              <a:gd name="T105" fmla="*/ 2147483646 h 5585"/>
              <a:gd name="T106" fmla="*/ 2147483646 w 5871"/>
              <a:gd name="T107" fmla="*/ 0 h 5585"/>
              <a:gd name="T108" fmla="*/ 2147483646 w 5871"/>
              <a:gd name="T109" fmla="*/ 2147483646 h 5585"/>
              <a:gd name="T110" fmla="*/ 2147483646 w 5871"/>
              <a:gd name="T111" fmla="*/ 2147483646 h 55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871" h="5585">
                <a:moveTo>
                  <a:pt x="774" y="374"/>
                </a:moveTo>
                <a:lnTo>
                  <a:pt x="774" y="1910"/>
                </a:lnTo>
                <a:lnTo>
                  <a:pt x="5107" y="1910"/>
                </a:lnTo>
                <a:lnTo>
                  <a:pt x="5107" y="374"/>
                </a:lnTo>
                <a:lnTo>
                  <a:pt x="774" y="374"/>
                </a:lnTo>
                <a:close/>
                <a:moveTo>
                  <a:pt x="1597" y="3265"/>
                </a:moveTo>
                <a:lnTo>
                  <a:pt x="1597" y="3265"/>
                </a:lnTo>
                <a:lnTo>
                  <a:pt x="1591" y="3265"/>
                </a:lnTo>
                <a:lnTo>
                  <a:pt x="1587" y="3265"/>
                </a:lnTo>
                <a:lnTo>
                  <a:pt x="1586" y="3265"/>
                </a:lnTo>
                <a:lnTo>
                  <a:pt x="1581" y="3265"/>
                </a:lnTo>
                <a:lnTo>
                  <a:pt x="1576" y="3265"/>
                </a:lnTo>
                <a:lnTo>
                  <a:pt x="1571" y="3265"/>
                </a:lnTo>
                <a:lnTo>
                  <a:pt x="1570" y="3265"/>
                </a:lnTo>
                <a:lnTo>
                  <a:pt x="1566" y="3265"/>
                </a:lnTo>
                <a:lnTo>
                  <a:pt x="1560" y="3265"/>
                </a:lnTo>
                <a:lnTo>
                  <a:pt x="1555" y="3265"/>
                </a:lnTo>
                <a:lnTo>
                  <a:pt x="1550" y="3265"/>
                </a:lnTo>
                <a:lnTo>
                  <a:pt x="1545" y="3265"/>
                </a:lnTo>
                <a:lnTo>
                  <a:pt x="1540" y="3265"/>
                </a:lnTo>
                <a:lnTo>
                  <a:pt x="1539" y="3265"/>
                </a:lnTo>
                <a:lnTo>
                  <a:pt x="1535" y="3265"/>
                </a:lnTo>
                <a:lnTo>
                  <a:pt x="1529" y="3265"/>
                </a:lnTo>
                <a:lnTo>
                  <a:pt x="1525" y="3265"/>
                </a:lnTo>
                <a:lnTo>
                  <a:pt x="1524" y="3265"/>
                </a:lnTo>
                <a:lnTo>
                  <a:pt x="1519" y="3265"/>
                </a:lnTo>
                <a:lnTo>
                  <a:pt x="1514" y="3265"/>
                </a:lnTo>
                <a:lnTo>
                  <a:pt x="1509" y="3265"/>
                </a:lnTo>
                <a:lnTo>
                  <a:pt x="1508" y="3265"/>
                </a:lnTo>
                <a:lnTo>
                  <a:pt x="1504" y="3265"/>
                </a:lnTo>
                <a:lnTo>
                  <a:pt x="1498" y="3265"/>
                </a:lnTo>
                <a:lnTo>
                  <a:pt x="1494" y="3265"/>
                </a:lnTo>
                <a:lnTo>
                  <a:pt x="1493" y="3265"/>
                </a:lnTo>
                <a:lnTo>
                  <a:pt x="1488" y="3265"/>
                </a:lnTo>
                <a:lnTo>
                  <a:pt x="1483" y="3265"/>
                </a:lnTo>
                <a:lnTo>
                  <a:pt x="1478" y="3265"/>
                </a:lnTo>
                <a:lnTo>
                  <a:pt x="1477" y="3265"/>
                </a:lnTo>
                <a:lnTo>
                  <a:pt x="1473" y="3265"/>
                </a:lnTo>
                <a:lnTo>
                  <a:pt x="1467" y="3265"/>
                </a:lnTo>
                <a:lnTo>
                  <a:pt x="1463" y="3265"/>
                </a:lnTo>
                <a:lnTo>
                  <a:pt x="1462" y="3265"/>
                </a:lnTo>
                <a:lnTo>
                  <a:pt x="1457" y="3265"/>
                </a:lnTo>
                <a:lnTo>
                  <a:pt x="1452" y="3265"/>
                </a:lnTo>
                <a:lnTo>
                  <a:pt x="1446" y="3265"/>
                </a:lnTo>
                <a:lnTo>
                  <a:pt x="1442" y="3265"/>
                </a:lnTo>
                <a:lnTo>
                  <a:pt x="1266" y="3265"/>
                </a:lnTo>
                <a:lnTo>
                  <a:pt x="1345" y="3830"/>
                </a:lnTo>
                <a:lnTo>
                  <a:pt x="1294" y="3911"/>
                </a:lnTo>
                <a:lnTo>
                  <a:pt x="1345" y="3977"/>
                </a:lnTo>
                <a:lnTo>
                  <a:pt x="1117" y="4116"/>
                </a:lnTo>
                <a:lnTo>
                  <a:pt x="1112" y="4144"/>
                </a:lnTo>
                <a:lnTo>
                  <a:pt x="1106" y="4173"/>
                </a:lnTo>
                <a:lnTo>
                  <a:pt x="1103" y="4201"/>
                </a:lnTo>
                <a:lnTo>
                  <a:pt x="1099" y="4228"/>
                </a:lnTo>
                <a:lnTo>
                  <a:pt x="1097" y="4255"/>
                </a:lnTo>
                <a:lnTo>
                  <a:pt x="1096" y="4281"/>
                </a:lnTo>
                <a:lnTo>
                  <a:pt x="1096" y="4308"/>
                </a:lnTo>
                <a:lnTo>
                  <a:pt x="1096" y="4333"/>
                </a:lnTo>
                <a:lnTo>
                  <a:pt x="1097" y="4359"/>
                </a:lnTo>
                <a:lnTo>
                  <a:pt x="1098" y="4383"/>
                </a:lnTo>
                <a:lnTo>
                  <a:pt x="1100" y="4407"/>
                </a:lnTo>
                <a:lnTo>
                  <a:pt x="1104" y="4432"/>
                </a:lnTo>
                <a:lnTo>
                  <a:pt x="1112" y="4478"/>
                </a:lnTo>
                <a:lnTo>
                  <a:pt x="1121" y="4523"/>
                </a:lnTo>
                <a:lnTo>
                  <a:pt x="1133" y="4568"/>
                </a:lnTo>
                <a:lnTo>
                  <a:pt x="1147" y="4611"/>
                </a:lnTo>
                <a:lnTo>
                  <a:pt x="1162" y="4653"/>
                </a:lnTo>
                <a:lnTo>
                  <a:pt x="1179" y="4694"/>
                </a:lnTo>
                <a:lnTo>
                  <a:pt x="1198" y="4733"/>
                </a:lnTo>
                <a:lnTo>
                  <a:pt x="1218" y="4772"/>
                </a:lnTo>
                <a:lnTo>
                  <a:pt x="1238" y="4812"/>
                </a:lnTo>
                <a:lnTo>
                  <a:pt x="1259" y="4849"/>
                </a:lnTo>
                <a:lnTo>
                  <a:pt x="774" y="4849"/>
                </a:lnTo>
                <a:lnTo>
                  <a:pt x="774" y="2135"/>
                </a:lnTo>
                <a:lnTo>
                  <a:pt x="2185" y="2135"/>
                </a:lnTo>
                <a:lnTo>
                  <a:pt x="2185" y="4849"/>
                </a:lnTo>
                <a:lnTo>
                  <a:pt x="1780" y="4849"/>
                </a:lnTo>
                <a:lnTo>
                  <a:pt x="1801" y="4812"/>
                </a:lnTo>
                <a:lnTo>
                  <a:pt x="1821" y="4772"/>
                </a:lnTo>
                <a:lnTo>
                  <a:pt x="1841" y="4733"/>
                </a:lnTo>
                <a:lnTo>
                  <a:pt x="1859" y="4694"/>
                </a:lnTo>
                <a:lnTo>
                  <a:pt x="1876" y="4653"/>
                </a:lnTo>
                <a:lnTo>
                  <a:pt x="1892" y="4611"/>
                </a:lnTo>
                <a:lnTo>
                  <a:pt x="1905" y="4568"/>
                </a:lnTo>
                <a:lnTo>
                  <a:pt x="1917" y="4523"/>
                </a:lnTo>
                <a:lnTo>
                  <a:pt x="1927" y="4478"/>
                </a:lnTo>
                <a:lnTo>
                  <a:pt x="1935" y="4432"/>
                </a:lnTo>
                <a:lnTo>
                  <a:pt x="1938" y="4407"/>
                </a:lnTo>
                <a:lnTo>
                  <a:pt x="1941" y="4383"/>
                </a:lnTo>
                <a:lnTo>
                  <a:pt x="1942" y="4359"/>
                </a:lnTo>
                <a:lnTo>
                  <a:pt x="1943" y="4333"/>
                </a:lnTo>
                <a:lnTo>
                  <a:pt x="1943" y="4308"/>
                </a:lnTo>
                <a:lnTo>
                  <a:pt x="1942" y="4281"/>
                </a:lnTo>
                <a:lnTo>
                  <a:pt x="1941" y="4255"/>
                </a:lnTo>
                <a:lnTo>
                  <a:pt x="1938" y="4228"/>
                </a:lnTo>
                <a:lnTo>
                  <a:pt x="1936" y="4201"/>
                </a:lnTo>
                <a:lnTo>
                  <a:pt x="1932" y="4173"/>
                </a:lnTo>
                <a:lnTo>
                  <a:pt x="1927" y="4144"/>
                </a:lnTo>
                <a:lnTo>
                  <a:pt x="1922" y="4116"/>
                </a:lnTo>
                <a:lnTo>
                  <a:pt x="1694" y="3977"/>
                </a:lnTo>
                <a:lnTo>
                  <a:pt x="1745" y="3911"/>
                </a:lnTo>
                <a:lnTo>
                  <a:pt x="1694" y="3830"/>
                </a:lnTo>
                <a:lnTo>
                  <a:pt x="1771" y="3265"/>
                </a:lnTo>
                <a:lnTo>
                  <a:pt x="1597" y="3265"/>
                </a:lnTo>
                <a:close/>
                <a:moveTo>
                  <a:pt x="4819" y="863"/>
                </a:moveTo>
                <a:lnTo>
                  <a:pt x="4819" y="1057"/>
                </a:lnTo>
                <a:lnTo>
                  <a:pt x="3585" y="1057"/>
                </a:lnTo>
                <a:lnTo>
                  <a:pt x="3585" y="863"/>
                </a:lnTo>
                <a:lnTo>
                  <a:pt x="4819" y="863"/>
                </a:lnTo>
                <a:close/>
                <a:moveTo>
                  <a:pt x="5002" y="1108"/>
                </a:moveTo>
                <a:lnTo>
                  <a:pt x="5002" y="1379"/>
                </a:lnTo>
                <a:lnTo>
                  <a:pt x="3769" y="1379"/>
                </a:lnTo>
                <a:lnTo>
                  <a:pt x="3769" y="1108"/>
                </a:lnTo>
                <a:lnTo>
                  <a:pt x="5002" y="1108"/>
                </a:lnTo>
                <a:close/>
                <a:moveTo>
                  <a:pt x="4891" y="1429"/>
                </a:moveTo>
                <a:lnTo>
                  <a:pt x="4891" y="1623"/>
                </a:lnTo>
                <a:lnTo>
                  <a:pt x="3657" y="1623"/>
                </a:lnTo>
                <a:lnTo>
                  <a:pt x="3657" y="1429"/>
                </a:lnTo>
                <a:lnTo>
                  <a:pt x="4891" y="1429"/>
                </a:lnTo>
                <a:close/>
                <a:moveTo>
                  <a:pt x="4977" y="1659"/>
                </a:moveTo>
                <a:lnTo>
                  <a:pt x="4977" y="1853"/>
                </a:lnTo>
                <a:lnTo>
                  <a:pt x="3743" y="1853"/>
                </a:lnTo>
                <a:lnTo>
                  <a:pt x="3743" y="1659"/>
                </a:lnTo>
                <a:lnTo>
                  <a:pt x="4977" y="1659"/>
                </a:lnTo>
                <a:close/>
                <a:moveTo>
                  <a:pt x="1643" y="596"/>
                </a:moveTo>
                <a:lnTo>
                  <a:pt x="1833" y="561"/>
                </a:lnTo>
                <a:lnTo>
                  <a:pt x="2061" y="1773"/>
                </a:lnTo>
                <a:lnTo>
                  <a:pt x="1871" y="1809"/>
                </a:lnTo>
                <a:lnTo>
                  <a:pt x="1643" y="596"/>
                </a:lnTo>
                <a:close/>
                <a:moveTo>
                  <a:pt x="1388" y="596"/>
                </a:moveTo>
                <a:lnTo>
                  <a:pt x="1579" y="561"/>
                </a:lnTo>
                <a:lnTo>
                  <a:pt x="1807" y="1773"/>
                </a:lnTo>
                <a:lnTo>
                  <a:pt x="1616" y="1809"/>
                </a:lnTo>
                <a:lnTo>
                  <a:pt x="1388" y="596"/>
                </a:lnTo>
                <a:close/>
                <a:moveTo>
                  <a:pt x="1134" y="596"/>
                </a:moveTo>
                <a:lnTo>
                  <a:pt x="1324" y="561"/>
                </a:lnTo>
                <a:lnTo>
                  <a:pt x="1551" y="1773"/>
                </a:lnTo>
                <a:lnTo>
                  <a:pt x="1361" y="1809"/>
                </a:lnTo>
                <a:lnTo>
                  <a:pt x="1134" y="596"/>
                </a:lnTo>
                <a:close/>
                <a:moveTo>
                  <a:pt x="884" y="568"/>
                </a:moveTo>
                <a:lnTo>
                  <a:pt x="1077" y="568"/>
                </a:lnTo>
                <a:lnTo>
                  <a:pt x="1077" y="1802"/>
                </a:lnTo>
                <a:lnTo>
                  <a:pt x="884" y="1802"/>
                </a:lnTo>
                <a:lnTo>
                  <a:pt x="884" y="568"/>
                </a:lnTo>
                <a:close/>
                <a:moveTo>
                  <a:pt x="3540" y="2418"/>
                </a:moveTo>
                <a:lnTo>
                  <a:pt x="3807" y="2354"/>
                </a:lnTo>
                <a:lnTo>
                  <a:pt x="4033" y="3306"/>
                </a:lnTo>
                <a:lnTo>
                  <a:pt x="3765" y="3369"/>
                </a:lnTo>
                <a:lnTo>
                  <a:pt x="3540" y="2418"/>
                </a:lnTo>
                <a:close/>
                <a:moveTo>
                  <a:pt x="3622" y="2531"/>
                </a:moveTo>
                <a:lnTo>
                  <a:pt x="3639" y="2606"/>
                </a:lnTo>
                <a:lnTo>
                  <a:pt x="3791" y="2570"/>
                </a:lnTo>
                <a:lnTo>
                  <a:pt x="3773" y="2496"/>
                </a:lnTo>
                <a:lnTo>
                  <a:pt x="3622" y="2531"/>
                </a:lnTo>
                <a:close/>
                <a:moveTo>
                  <a:pt x="3739" y="3028"/>
                </a:moveTo>
                <a:lnTo>
                  <a:pt x="3776" y="3184"/>
                </a:lnTo>
                <a:lnTo>
                  <a:pt x="3928" y="3148"/>
                </a:lnTo>
                <a:lnTo>
                  <a:pt x="3890" y="2991"/>
                </a:lnTo>
                <a:lnTo>
                  <a:pt x="3739" y="3028"/>
                </a:lnTo>
                <a:close/>
                <a:moveTo>
                  <a:pt x="3193" y="2418"/>
                </a:moveTo>
                <a:lnTo>
                  <a:pt x="3418" y="3369"/>
                </a:lnTo>
                <a:lnTo>
                  <a:pt x="3687" y="3306"/>
                </a:lnTo>
                <a:lnTo>
                  <a:pt x="3461" y="2354"/>
                </a:lnTo>
                <a:lnTo>
                  <a:pt x="3193" y="2418"/>
                </a:lnTo>
                <a:close/>
                <a:moveTo>
                  <a:pt x="3276" y="2531"/>
                </a:moveTo>
                <a:lnTo>
                  <a:pt x="3426" y="2496"/>
                </a:lnTo>
                <a:lnTo>
                  <a:pt x="3444" y="2570"/>
                </a:lnTo>
                <a:lnTo>
                  <a:pt x="3292" y="2606"/>
                </a:lnTo>
                <a:lnTo>
                  <a:pt x="3276" y="2531"/>
                </a:lnTo>
                <a:close/>
                <a:moveTo>
                  <a:pt x="3393" y="3028"/>
                </a:moveTo>
                <a:lnTo>
                  <a:pt x="3429" y="3184"/>
                </a:lnTo>
                <a:lnTo>
                  <a:pt x="3581" y="3148"/>
                </a:lnTo>
                <a:lnTo>
                  <a:pt x="3544" y="2991"/>
                </a:lnTo>
                <a:lnTo>
                  <a:pt x="3393" y="3028"/>
                </a:lnTo>
                <a:close/>
                <a:moveTo>
                  <a:pt x="2841" y="2418"/>
                </a:moveTo>
                <a:lnTo>
                  <a:pt x="3109" y="2354"/>
                </a:lnTo>
                <a:lnTo>
                  <a:pt x="3335" y="3306"/>
                </a:lnTo>
                <a:lnTo>
                  <a:pt x="3067" y="3369"/>
                </a:lnTo>
                <a:lnTo>
                  <a:pt x="2841" y="2418"/>
                </a:lnTo>
                <a:close/>
                <a:moveTo>
                  <a:pt x="2923" y="2531"/>
                </a:moveTo>
                <a:lnTo>
                  <a:pt x="2941" y="2606"/>
                </a:lnTo>
                <a:lnTo>
                  <a:pt x="3092" y="2570"/>
                </a:lnTo>
                <a:lnTo>
                  <a:pt x="3075" y="2496"/>
                </a:lnTo>
                <a:lnTo>
                  <a:pt x="2923" y="2531"/>
                </a:lnTo>
                <a:close/>
                <a:moveTo>
                  <a:pt x="3041" y="3028"/>
                </a:moveTo>
                <a:lnTo>
                  <a:pt x="3192" y="2991"/>
                </a:lnTo>
                <a:lnTo>
                  <a:pt x="3229" y="3148"/>
                </a:lnTo>
                <a:lnTo>
                  <a:pt x="3078" y="3184"/>
                </a:lnTo>
                <a:lnTo>
                  <a:pt x="3041" y="3028"/>
                </a:lnTo>
                <a:close/>
                <a:moveTo>
                  <a:pt x="2553" y="2372"/>
                </a:moveTo>
                <a:lnTo>
                  <a:pt x="2828" y="2372"/>
                </a:lnTo>
                <a:lnTo>
                  <a:pt x="2828" y="3352"/>
                </a:lnTo>
                <a:lnTo>
                  <a:pt x="2553" y="3352"/>
                </a:lnTo>
                <a:lnTo>
                  <a:pt x="2553" y="2372"/>
                </a:lnTo>
                <a:close/>
                <a:moveTo>
                  <a:pt x="2606" y="2503"/>
                </a:moveTo>
                <a:lnTo>
                  <a:pt x="2606" y="2579"/>
                </a:lnTo>
                <a:lnTo>
                  <a:pt x="2762" y="2579"/>
                </a:lnTo>
                <a:lnTo>
                  <a:pt x="2762" y="2503"/>
                </a:lnTo>
                <a:lnTo>
                  <a:pt x="2606" y="2503"/>
                </a:lnTo>
                <a:close/>
                <a:moveTo>
                  <a:pt x="2606" y="3012"/>
                </a:moveTo>
                <a:lnTo>
                  <a:pt x="2606" y="3173"/>
                </a:lnTo>
                <a:lnTo>
                  <a:pt x="2762" y="3173"/>
                </a:lnTo>
                <a:lnTo>
                  <a:pt x="2762" y="3012"/>
                </a:lnTo>
                <a:lnTo>
                  <a:pt x="2606" y="3012"/>
                </a:lnTo>
                <a:close/>
                <a:moveTo>
                  <a:pt x="5555" y="151"/>
                </a:moveTo>
                <a:lnTo>
                  <a:pt x="5555" y="374"/>
                </a:lnTo>
                <a:lnTo>
                  <a:pt x="5555" y="4849"/>
                </a:lnTo>
                <a:lnTo>
                  <a:pt x="5871" y="4849"/>
                </a:lnTo>
                <a:lnTo>
                  <a:pt x="5871" y="5585"/>
                </a:lnTo>
                <a:lnTo>
                  <a:pt x="0" y="5585"/>
                </a:lnTo>
                <a:lnTo>
                  <a:pt x="0" y="4849"/>
                </a:lnTo>
                <a:lnTo>
                  <a:pt x="326" y="4849"/>
                </a:lnTo>
                <a:lnTo>
                  <a:pt x="326" y="374"/>
                </a:lnTo>
                <a:lnTo>
                  <a:pt x="326" y="151"/>
                </a:lnTo>
                <a:lnTo>
                  <a:pt x="326" y="0"/>
                </a:lnTo>
                <a:lnTo>
                  <a:pt x="5555" y="0"/>
                </a:lnTo>
                <a:lnTo>
                  <a:pt x="5555" y="151"/>
                </a:lnTo>
                <a:close/>
                <a:moveTo>
                  <a:pt x="2409" y="2135"/>
                </a:moveTo>
                <a:lnTo>
                  <a:pt x="2409" y="3385"/>
                </a:lnTo>
                <a:lnTo>
                  <a:pt x="5107" y="3385"/>
                </a:lnTo>
                <a:lnTo>
                  <a:pt x="5107" y="2135"/>
                </a:lnTo>
                <a:lnTo>
                  <a:pt x="2409" y="2135"/>
                </a:lnTo>
                <a:close/>
                <a:moveTo>
                  <a:pt x="2409" y="3609"/>
                </a:moveTo>
                <a:lnTo>
                  <a:pt x="2409" y="4849"/>
                </a:lnTo>
                <a:lnTo>
                  <a:pt x="5107" y="4849"/>
                </a:lnTo>
                <a:lnTo>
                  <a:pt x="5107" y="3609"/>
                </a:lnTo>
                <a:lnTo>
                  <a:pt x="2409" y="36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08F4CF45-302B-4694-A568-66C05BAEA0D5}"/>
              </a:ext>
            </a:extLst>
          </p:cNvPr>
          <p:cNvGrpSpPr/>
          <p:nvPr/>
        </p:nvGrpSpPr>
        <p:grpSpPr>
          <a:xfrm>
            <a:off x="4993906" y="3002533"/>
            <a:ext cx="2299974" cy="1555561"/>
            <a:chOff x="5040597" y="4723551"/>
            <a:chExt cx="2299974" cy="1555561"/>
          </a:xfrm>
        </p:grpSpPr>
        <p:grpSp>
          <p:nvGrpSpPr>
            <p:cNvPr id="8" name="ïšliḑé">
              <a:extLst>
                <a:ext uri="{FF2B5EF4-FFF2-40B4-BE49-F238E27FC236}">
                  <a16:creationId xmlns:a16="http://schemas.microsoft.com/office/drawing/2014/main" id="{2B3F3E97-20B5-477F-BA92-0C4C3F7CE4FA}"/>
                </a:ext>
              </a:extLst>
            </p:cNvPr>
            <p:cNvGrpSpPr/>
            <p:nvPr/>
          </p:nvGrpSpPr>
          <p:grpSpPr>
            <a:xfrm>
              <a:off x="5040597" y="4723551"/>
              <a:ext cx="2299974" cy="1555561"/>
              <a:chOff x="8625202" y="3136815"/>
              <a:chExt cx="2299974" cy="1555561"/>
            </a:xfrm>
          </p:grpSpPr>
          <p:sp>
            <p:nvSpPr>
              <p:cNvPr id="15" name="iŝlîďê">
                <a:extLst>
                  <a:ext uri="{FF2B5EF4-FFF2-40B4-BE49-F238E27FC236}">
                    <a16:creationId xmlns:a16="http://schemas.microsoft.com/office/drawing/2014/main" id="{D42EC51F-53A2-49D0-86B5-CFCF8E87101A}"/>
                  </a:ext>
                </a:extLst>
              </p:cNvPr>
              <p:cNvSpPr/>
              <p:nvPr/>
            </p:nvSpPr>
            <p:spPr bwMode="auto">
              <a:xfrm>
                <a:off x="9206239" y="3136815"/>
                <a:ext cx="1137902" cy="1137902"/>
              </a:xfrm>
              <a:prstGeom prst="ellipse">
                <a:avLst/>
              </a:prstGeom>
              <a:solidFill>
                <a:schemeClr val="accent4">
                  <a:lumMod val="10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13" name="íS1ïḍè">
                <a:extLst>
                  <a:ext uri="{FF2B5EF4-FFF2-40B4-BE49-F238E27FC236}">
                    <a16:creationId xmlns:a16="http://schemas.microsoft.com/office/drawing/2014/main" id="{BE3270D9-90F9-4809-A4B0-EC1B4FDDAA23}"/>
                  </a:ext>
                </a:extLst>
              </p:cNvPr>
              <p:cNvSpPr txBox="1"/>
              <p:nvPr/>
            </p:nvSpPr>
            <p:spPr>
              <a:xfrm>
                <a:off x="8625202" y="4353822"/>
                <a:ext cx="2299974" cy="338554"/>
              </a:xfrm>
              <a:prstGeom prst="rect">
                <a:avLst/>
              </a:prstGeom>
              <a:noFill/>
            </p:spPr>
            <p:txBody>
              <a:bodyPr wrap="none" anchor="b" anchorCtr="1">
                <a:normAutofit lnSpcReduction="10000"/>
              </a:bodyPr>
              <a:lstStyle/>
              <a:p>
                <a:pPr algn="ctr"/>
                <a:r>
                  <a:rPr lang="zh-CN" altLang="en-US" b="1" dirty="0"/>
                  <a:t>团队成员</a:t>
                </a:r>
              </a:p>
            </p:txBody>
          </p:sp>
        </p:grpSp>
        <p:sp>
          <p:nvSpPr>
            <p:cNvPr id="35" name="iśḻîḋè">
              <a:extLst>
                <a:ext uri="{FF2B5EF4-FFF2-40B4-BE49-F238E27FC236}">
                  <a16:creationId xmlns:a16="http://schemas.microsoft.com/office/drawing/2014/main" id="{F97173CE-8526-489C-8FD2-25174DC501E8}"/>
                </a:ext>
              </a:extLst>
            </p:cNvPr>
            <p:cNvSpPr/>
            <p:nvPr/>
          </p:nvSpPr>
          <p:spPr bwMode="auto">
            <a:xfrm>
              <a:off x="5919078" y="5018084"/>
              <a:ext cx="539496" cy="539496"/>
            </a:xfrm>
            <a:custGeom>
              <a:avLst/>
              <a:gdLst>
                <a:gd name="connsiteX0" fmla="*/ 466115 w 584423"/>
                <a:gd name="connsiteY0" fmla="*/ 268189 h 607568"/>
                <a:gd name="connsiteX1" fmla="*/ 479022 w 584423"/>
                <a:gd name="connsiteY1" fmla="*/ 270337 h 607568"/>
                <a:gd name="connsiteX2" fmla="*/ 502991 w 584423"/>
                <a:gd name="connsiteY2" fmla="*/ 288288 h 607568"/>
                <a:gd name="connsiteX3" fmla="*/ 527113 w 584423"/>
                <a:gd name="connsiteY3" fmla="*/ 270337 h 607568"/>
                <a:gd name="connsiteX4" fmla="*/ 539866 w 584423"/>
                <a:gd name="connsiteY4" fmla="*/ 268189 h 607568"/>
                <a:gd name="connsiteX5" fmla="*/ 552004 w 584423"/>
                <a:gd name="connsiteY5" fmla="*/ 271871 h 607568"/>
                <a:gd name="connsiteX6" fmla="*/ 584423 w 584423"/>
                <a:gd name="connsiteY6" fmla="*/ 316826 h 607568"/>
                <a:gd name="connsiteX7" fmla="*/ 584423 w 584423"/>
                <a:gd name="connsiteY7" fmla="*/ 389092 h 607568"/>
                <a:gd name="connsiteX8" fmla="*/ 582118 w 584423"/>
                <a:gd name="connsiteY8" fmla="*/ 396917 h 607568"/>
                <a:gd name="connsiteX9" fmla="*/ 557842 w 584423"/>
                <a:gd name="connsiteY9" fmla="*/ 433894 h 607568"/>
                <a:gd name="connsiteX10" fmla="*/ 557842 w 584423"/>
                <a:gd name="connsiteY10" fmla="*/ 530708 h 607568"/>
                <a:gd name="connsiteX11" fmla="*/ 543553 w 584423"/>
                <a:gd name="connsiteY11" fmla="*/ 544977 h 607568"/>
                <a:gd name="connsiteX12" fmla="*/ 462428 w 584423"/>
                <a:gd name="connsiteY12" fmla="*/ 544977 h 607568"/>
                <a:gd name="connsiteX13" fmla="*/ 448139 w 584423"/>
                <a:gd name="connsiteY13" fmla="*/ 530708 h 607568"/>
                <a:gd name="connsiteX14" fmla="*/ 448139 w 584423"/>
                <a:gd name="connsiteY14" fmla="*/ 433894 h 607568"/>
                <a:gd name="connsiteX15" fmla="*/ 423863 w 584423"/>
                <a:gd name="connsiteY15" fmla="*/ 396917 h 607568"/>
                <a:gd name="connsiteX16" fmla="*/ 421558 w 584423"/>
                <a:gd name="connsiteY16" fmla="*/ 389092 h 607568"/>
                <a:gd name="connsiteX17" fmla="*/ 421558 w 584423"/>
                <a:gd name="connsiteY17" fmla="*/ 316826 h 607568"/>
                <a:gd name="connsiteX18" fmla="*/ 453977 w 584423"/>
                <a:gd name="connsiteY18" fmla="*/ 271871 h 607568"/>
                <a:gd name="connsiteX19" fmla="*/ 466115 w 584423"/>
                <a:gd name="connsiteY19" fmla="*/ 268189 h 607568"/>
                <a:gd name="connsiteX20" fmla="*/ 44557 w 584423"/>
                <a:gd name="connsiteY20" fmla="*/ 268189 h 607568"/>
                <a:gd name="connsiteX21" fmla="*/ 57310 w 584423"/>
                <a:gd name="connsiteY21" fmla="*/ 270337 h 607568"/>
                <a:gd name="connsiteX22" fmla="*/ 81432 w 584423"/>
                <a:gd name="connsiteY22" fmla="*/ 288288 h 607568"/>
                <a:gd name="connsiteX23" fmla="*/ 105401 w 584423"/>
                <a:gd name="connsiteY23" fmla="*/ 270337 h 607568"/>
                <a:gd name="connsiteX24" fmla="*/ 118308 w 584423"/>
                <a:gd name="connsiteY24" fmla="*/ 268189 h 607568"/>
                <a:gd name="connsiteX25" fmla="*/ 130446 w 584423"/>
                <a:gd name="connsiteY25" fmla="*/ 271871 h 607568"/>
                <a:gd name="connsiteX26" fmla="*/ 162865 w 584423"/>
                <a:gd name="connsiteY26" fmla="*/ 316826 h 607568"/>
                <a:gd name="connsiteX27" fmla="*/ 162865 w 584423"/>
                <a:gd name="connsiteY27" fmla="*/ 389092 h 607568"/>
                <a:gd name="connsiteX28" fmla="*/ 160560 w 584423"/>
                <a:gd name="connsiteY28" fmla="*/ 396917 h 607568"/>
                <a:gd name="connsiteX29" fmla="*/ 136284 w 584423"/>
                <a:gd name="connsiteY29" fmla="*/ 433894 h 607568"/>
                <a:gd name="connsiteX30" fmla="*/ 136284 w 584423"/>
                <a:gd name="connsiteY30" fmla="*/ 530708 h 607568"/>
                <a:gd name="connsiteX31" fmla="*/ 121995 w 584423"/>
                <a:gd name="connsiteY31" fmla="*/ 544977 h 607568"/>
                <a:gd name="connsiteX32" fmla="*/ 40870 w 584423"/>
                <a:gd name="connsiteY32" fmla="*/ 544977 h 607568"/>
                <a:gd name="connsiteX33" fmla="*/ 26581 w 584423"/>
                <a:gd name="connsiteY33" fmla="*/ 530708 h 607568"/>
                <a:gd name="connsiteX34" fmla="*/ 26581 w 584423"/>
                <a:gd name="connsiteY34" fmla="*/ 433894 h 607568"/>
                <a:gd name="connsiteX35" fmla="*/ 2305 w 584423"/>
                <a:gd name="connsiteY35" fmla="*/ 396917 h 607568"/>
                <a:gd name="connsiteX36" fmla="*/ 0 w 584423"/>
                <a:gd name="connsiteY36" fmla="*/ 389092 h 607568"/>
                <a:gd name="connsiteX37" fmla="*/ 0 w 584423"/>
                <a:gd name="connsiteY37" fmla="*/ 316826 h 607568"/>
                <a:gd name="connsiteX38" fmla="*/ 32419 w 584423"/>
                <a:gd name="connsiteY38" fmla="*/ 271871 h 607568"/>
                <a:gd name="connsiteX39" fmla="*/ 44557 w 584423"/>
                <a:gd name="connsiteY39" fmla="*/ 268189 h 607568"/>
                <a:gd name="connsiteX40" fmla="*/ 283757 w 584423"/>
                <a:gd name="connsiteY40" fmla="*/ 227644 h 607568"/>
                <a:gd name="connsiteX41" fmla="*/ 300667 w 584423"/>
                <a:gd name="connsiteY41" fmla="*/ 227644 h 607568"/>
                <a:gd name="connsiteX42" fmla="*/ 306663 w 584423"/>
                <a:gd name="connsiteY42" fmla="*/ 230253 h 607568"/>
                <a:gd name="connsiteX43" fmla="*/ 307739 w 584423"/>
                <a:gd name="connsiteY43" fmla="*/ 239459 h 607568"/>
                <a:gd name="connsiteX44" fmla="*/ 298669 w 584423"/>
                <a:gd name="connsiteY44" fmla="*/ 252962 h 607568"/>
                <a:gd name="connsiteX45" fmla="*/ 302973 w 584423"/>
                <a:gd name="connsiteY45" fmla="*/ 288561 h 607568"/>
                <a:gd name="connsiteX46" fmla="*/ 294672 w 584423"/>
                <a:gd name="connsiteY46" fmla="*/ 310810 h 607568"/>
                <a:gd name="connsiteX47" fmla="*/ 289752 w 584423"/>
                <a:gd name="connsiteY47" fmla="*/ 310810 h 607568"/>
                <a:gd name="connsiteX48" fmla="*/ 281451 w 584423"/>
                <a:gd name="connsiteY48" fmla="*/ 288561 h 607568"/>
                <a:gd name="connsiteX49" fmla="*/ 285755 w 584423"/>
                <a:gd name="connsiteY49" fmla="*/ 252962 h 607568"/>
                <a:gd name="connsiteX50" fmla="*/ 276685 w 584423"/>
                <a:gd name="connsiteY50" fmla="*/ 239459 h 607568"/>
                <a:gd name="connsiteX51" fmla="*/ 277761 w 584423"/>
                <a:gd name="connsiteY51" fmla="*/ 230253 h 607568"/>
                <a:gd name="connsiteX52" fmla="*/ 283757 w 584423"/>
                <a:gd name="connsiteY52" fmla="*/ 227644 h 607568"/>
                <a:gd name="connsiteX53" fmla="*/ 243694 w 584423"/>
                <a:gd name="connsiteY53" fmla="*/ 226776 h 607568"/>
                <a:gd name="connsiteX54" fmla="*/ 248918 w 584423"/>
                <a:gd name="connsiteY54" fmla="*/ 230304 h 607568"/>
                <a:gd name="connsiteX55" fmla="*/ 285947 w 584423"/>
                <a:gd name="connsiteY55" fmla="*/ 331870 h 607568"/>
                <a:gd name="connsiteX56" fmla="*/ 298546 w 584423"/>
                <a:gd name="connsiteY56" fmla="*/ 331870 h 607568"/>
                <a:gd name="connsiteX57" fmla="*/ 335575 w 584423"/>
                <a:gd name="connsiteY57" fmla="*/ 230304 h 607568"/>
                <a:gd name="connsiteX58" fmla="*/ 342336 w 584423"/>
                <a:gd name="connsiteY58" fmla="*/ 226929 h 607568"/>
                <a:gd name="connsiteX59" fmla="*/ 360005 w 584423"/>
                <a:gd name="connsiteY59" fmla="*/ 232299 h 607568"/>
                <a:gd name="connsiteX60" fmla="*/ 360005 w 584423"/>
                <a:gd name="connsiteY60" fmla="*/ 232452 h 607568"/>
                <a:gd name="connsiteX61" fmla="*/ 397495 w 584423"/>
                <a:gd name="connsiteY61" fmla="*/ 284002 h 607568"/>
                <a:gd name="connsiteX62" fmla="*/ 397495 w 584423"/>
                <a:gd name="connsiteY62" fmla="*/ 391704 h 607568"/>
                <a:gd name="connsiteX63" fmla="*/ 396573 w 584423"/>
                <a:gd name="connsiteY63" fmla="*/ 394619 h 607568"/>
                <a:gd name="connsiteX64" fmla="*/ 358008 w 584423"/>
                <a:gd name="connsiteY64" fmla="*/ 453379 h 607568"/>
                <a:gd name="connsiteX65" fmla="*/ 358008 w 584423"/>
                <a:gd name="connsiteY65" fmla="*/ 602045 h 607568"/>
                <a:gd name="connsiteX66" fmla="*/ 352476 w 584423"/>
                <a:gd name="connsiteY66" fmla="*/ 607568 h 607568"/>
                <a:gd name="connsiteX67" fmla="*/ 232017 w 584423"/>
                <a:gd name="connsiteY67" fmla="*/ 607568 h 607568"/>
                <a:gd name="connsiteX68" fmla="*/ 226485 w 584423"/>
                <a:gd name="connsiteY68" fmla="*/ 602045 h 607568"/>
                <a:gd name="connsiteX69" fmla="*/ 226485 w 584423"/>
                <a:gd name="connsiteY69" fmla="*/ 453379 h 607568"/>
                <a:gd name="connsiteX70" fmla="*/ 187920 w 584423"/>
                <a:gd name="connsiteY70" fmla="*/ 394619 h 607568"/>
                <a:gd name="connsiteX71" fmla="*/ 186998 w 584423"/>
                <a:gd name="connsiteY71" fmla="*/ 391704 h 607568"/>
                <a:gd name="connsiteX72" fmla="*/ 186998 w 584423"/>
                <a:gd name="connsiteY72" fmla="*/ 284309 h 607568"/>
                <a:gd name="connsiteX73" fmla="*/ 224488 w 584423"/>
                <a:gd name="connsiteY73" fmla="*/ 232299 h 607568"/>
                <a:gd name="connsiteX74" fmla="*/ 243694 w 584423"/>
                <a:gd name="connsiteY74" fmla="*/ 226776 h 607568"/>
                <a:gd name="connsiteX75" fmla="*/ 503026 w 584423"/>
                <a:gd name="connsiteY75" fmla="*/ 160466 h 607568"/>
                <a:gd name="connsiteX76" fmla="*/ 550975 w 584423"/>
                <a:gd name="connsiteY76" fmla="*/ 208274 h 607568"/>
                <a:gd name="connsiteX77" fmla="*/ 503026 w 584423"/>
                <a:gd name="connsiteY77" fmla="*/ 256082 h 607568"/>
                <a:gd name="connsiteX78" fmla="*/ 455077 w 584423"/>
                <a:gd name="connsiteY78" fmla="*/ 208274 h 607568"/>
                <a:gd name="connsiteX79" fmla="*/ 503026 w 584423"/>
                <a:gd name="connsiteY79" fmla="*/ 160466 h 607568"/>
                <a:gd name="connsiteX80" fmla="*/ 81397 w 584423"/>
                <a:gd name="connsiteY80" fmla="*/ 160466 h 607568"/>
                <a:gd name="connsiteX81" fmla="*/ 129346 w 584423"/>
                <a:gd name="connsiteY81" fmla="*/ 208274 h 607568"/>
                <a:gd name="connsiteX82" fmla="*/ 81397 w 584423"/>
                <a:gd name="connsiteY82" fmla="*/ 256082 h 607568"/>
                <a:gd name="connsiteX83" fmla="*/ 33448 w 584423"/>
                <a:gd name="connsiteY83" fmla="*/ 208274 h 607568"/>
                <a:gd name="connsiteX84" fmla="*/ 81397 w 584423"/>
                <a:gd name="connsiteY84" fmla="*/ 160466 h 607568"/>
                <a:gd name="connsiteX85" fmla="*/ 292212 w 584423"/>
                <a:gd name="connsiteY85" fmla="*/ 79174 h 607568"/>
                <a:gd name="connsiteX86" fmla="*/ 353957 w 584423"/>
                <a:gd name="connsiteY86" fmla="*/ 140848 h 607568"/>
                <a:gd name="connsiteX87" fmla="*/ 292212 w 584423"/>
                <a:gd name="connsiteY87" fmla="*/ 202522 h 607568"/>
                <a:gd name="connsiteX88" fmla="*/ 230467 w 584423"/>
                <a:gd name="connsiteY88" fmla="*/ 140848 h 607568"/>
                <a:gd name="connsiteX89" fmla="*/ 292212 w 584423"/>
                <a:gd name="connsiteY89" fmla="*/ 79174 h 607568"/>
                <a:gd name="connsiteX90" fmla="*/ 292212 w 584423"/>
                <a:gd name="connsiteY90" fmla="*/ 0 h 607568"/>
                <a:gd name="connsiteX91" fmla="*/ 504683 w 584423"/>
                <a:gd name="connsiteY91" fmla="*/ 105068 h 607568"/>
                <a:gd name="connsiteX92" fmla="*/ 501764 w 584423"/>
                <a:gd name="connsiteY92" fmla="*/ 126542 h 607568"/>
                <a:gd name="connsiteX93" fmla="*/ 492546 w 584423"/>
                <a:gd name="connsiteY93" fmla="*/ 129610 h 607568"/>
                <a:gd name="connsiteX94" fmla="*/ 480409 w 584423"/>
                <a:gd name="connsiteY94" fmla="*/ 123628 h 607568"/>
                <a:gd name="connsiteX95" fmla="*/ 292212 w 584423"/>
                <a:gd name="connsiteY95" fmla="*/ 30677 h 607568"/>
                <a:gd name="connsiteX96" fmla="*/ 104014 w 584423"/>
                <a:gd name="connsiteY96" fmla="*/ 123628 h 607568"/>
                <a:gd name="connsiteX97" fmla="*/ 82659 w 584423"/>
                <a:gd name="connsiteY97" fmla="*/ 126542 h 607568"/>
                <a:gd name="connsiteX98" fmla="*/ 79740 w 584423"/>
                <a:gd name="connsiteY98" fmla="*/ 105068 h 607568"/>
                <a:gd name="connsiteX99" fmla="*/ 292212 w 584423"/>
                <a:gd name="connsiteY99" fmla="*/ 0 h 607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584423" h="607568">
                  <a:moveTo>
                    <a:pt x="466115" y="268189"/>
                  </a:moveTo>
                  <a:cubicBezTo>
                    <a:pt x="470571" y="266808"/>
                    <a:pt x="475334" y="267575"/>
                    <a:pt x="479022" y="270337"/>
                  </a:cubicBezTo>
                  <a:lnTo>
                    <a:pt x="502991" y="288288"/>
                  </a:lnTo>
                  <a:lnTo>
                    <a:pt x="527113" y="270337"/>
                  </a:lnTo>
                  <a:cubicBezTo>
                    <a:pt x="530647" y="267575"/>
                    <a:pt x="535410" y="266808"/>
                    <a:pt x="539866" y="268189"/>
                  </a:cubicBezTo>
                  <a:cubicBezTo>
                    <a:pt x="539866" y="268189"/>
                    <a:pt x="551850" y="271871"/>
                    <a:pt x="552004" y="271871"/>
                  </a:cubicBezTo>
                  <a:cubicBezTo>
                    <a:pt x="571363" y="278315"/>
                    <a:pt x="584423" y="296420"/>
                    <a:pt x="584423" y="316826"/>
                  </a:cubicBezTo>
                  <a:lnTo>
                    <a:pt x="584423" y="389092"/>
                  </a:lnTo>
                  <a:cubicBezTo>
                    <a:pt x="584423" y="391854"/>
                    <a:pt x="583655" y="394615"/>
                    <a:pt x="582118" y="396917"/>
                  </a:cubicBezTo>
                  <a:lnTo>
                    <a:pt x="557842" y="433894"/>
                  </a:lnTo>
                  <a:lnTo>
                    <a:pt x="557842" y="530708"/>
                  </a:lnTo>
                  <a:cubicBezTo>
                    <a:pt x="557842" y="538686"/>
                    <a:pt x="551389" y="544977"/>
                    <a:pt x="543553" y="544977"/>
                  </a:cubicBezTo>
                  <a:lnTo>
                    <a:pt x="462428" y="544977"/>
                  </a:lnTo>
                  <a:cubicBezTo>
                    <a:pt x="454592" y="544977"/>
                    <a:pt x="448139" y="538686"/>
                    <a:pt x="448139" y="530708"/>
                  </a:cubicBezTo>
                  <a:lnTo>
                    <a:pt x="448139" y="433894"/>
                  </a:lnTo>
                  <a:lnTo>
                    <a:pt x="423863" y="396917"/>
                  </a:lnTo>
                  <a:cubicBezTo>
                    <a:pt x="422326" y="394615"/>
                    <a:pt x="421558" y="391854"/>
                    <a:pt x="421558" y="389092"/>
                  </a:cubicBezTo>
                  <a:lnTo>
                    <a:pt x="421558" y="316826"/>
                  </a:lnTo>
                  <a:cubicBezTo>
                    <a:pt x="421558" y="296420"/>
                    <a:pt x="434618" y="278315"/>
                    <a:pt x="453977" y="271871"/>
                  </a:cubicBezTo>
                  <a:cubicBezTo>
                    <a:pt x="454131" y="271871"/>
                    <a:pt x="466115" y="268189"/>
                    <a:pt x="466115" y="268189"/>
                  </a:cubicBezTo>
                  <a:close/>
                  <a:moveTo>
                    <a:pt x="44557" y="268189"/>
                  </a:moveTo>
                  <a:cubicBezTo>
                    <a:pt x="49013" y="266808"/>
                    <a:pt x="53776" y="267575"/>
                    <a:pt x="57310" y="270337"/>
                  </a:cubicBezTo>
                  <a:lnTo>
                    <a:pt x="81432" y="288288"/>
                  </a:lnTo>
                  <a:lnTo>
                    <a:pt x="105401" y="270337"/>
                  </a:lnTo>
                  <a:cubicBezTo>
                    <a:pt x="109089" y="267575"/>
                    <a:pt x="113852" y="266808"/>
                    <a:pt x="118308" y="268189"/>
                  </a:cubicBezTo>
                  <a:cubicBezTo>
                    <a:pt x="118308" y="268189"/>
                    <a:pt x="130292" y="271871"/>
                    <a:pt x="130446" y="271871"/>
                  </a:cubicBezTo>
                  <a:cubicBezTo>
                    <a:pt x="149805" y="278315"/>
                    <a:pt x="162865" y="296420"/>
                    <a:pt x="162865" y="316826"/>
                  </a:cubicBezTo>
                  <a:lnTo>
                    <a:pt x="162865" y="389092"/>
                  </a:lnTo>
                  <a:cubicBezTo>
                    <a:pt x="162865" y="391854"/>
                    <a:pt x="162097" y="394615"/>
                    <a:pt x="160560" y="396917"/>
                  </a:cubicBezTo>
                  <a:lnTo>
                    <a:pt x="136284" y="433894"/>
                  </a:lnTo>
                  <a:lnTo>
                    <a:pt x="136284" y="530708"/>
                  </a:lnTo>
                  <a:cubicBezTo>
                    <a:pt x="136284" y="538686"/>
                    <a:pt x="129831" y="544977"/>
                    <a:pt x="121995" y="544977"/>
                  </a:cubicBezTo>
                  <a:lnTo>
                    <a:pt x="40870" y="544977"/>
                  </a:lnTo>
                  <a:cubicBezTo>
                    <a:pt x="33034" y="544977"/>
                    <a:pt x="26581" y="538686"/>
                    <a:pt x="26581" y="530708"/>
                  </a:cubicBezTo>
                  <a:lnTo>
                    <a:pt x="26581" y="433894"/>
                  </a:lnTo>
                  <a:lnTo>
                    <a:pt x="2305" y="396917"/>
                  </a:lnTo>
                  <a:cubicBezTo>
                    <a:pt x="768" y="394615"/>
                    <a:pt x="0" y="391854"/>
                    <a:pt x="0" y="389092"/>
                  </a:cubicBezTo>
                  <a:lnTo>
                    <a:pt x="0" y="316826"/>
                  </a:lnTo>
                  <a:cubicBezTo>
                    <a:pt x="0" y="296420"/>
                    <a:pt x="13060" y="278315"/>
                    <a:pt x="32419" y="271871"/>
                  </a:cubicBezTo>
                  <a:cubicBezTo>
                    <a:pt x="32573" y="271871"/>
                    <a:pt x="44557" y="268189"/>
                    <a:pt x="44557" y="268189"/>
                  </a:cubicBezTo>
                  <a:close/>
                  <a:moveTo>
                    <a:pt x="283757" y="227644"/>
                  </a:moveTo>
                  <a:lnTo>
                    <a:pt x="300667" y="227644"/>
                  </a:lnTo>
                  <a:cubicBezTo>
                    <a:pt x="302973" y="227644"/>
                    <a:pt x="305126" y="228565"/>
                    <a:pt x="306663" y="230253"/>
                  </a:cubicBezTo>
                  <a:cubicBezTo>
                    <a:pt x="309123" y="232861"/>
                    <a:pt x="309430" y="236544"/>
                    <a:pt x="307739" y="239459"/>
                  </a:cubicBezTo>
                  <a:lnTo>
                    <a:pt x="298669" y="252962"/>
                  </a:lnTo>
                  <a:lnTo>
                    <a:pt x="302973" y="288561"/>
                  </a:lnTo>
                  <a:lnTo>
                    <a:pt x="294672" y="310810"/>
                  </a:lnTo>
                  <a:cubicBezTo>
                    <a:pt x="293749" y="312958"/>
                    <a:pt x="290675" y="312958"/>
                    <a:pt x="289752" y="310810"/>
                  </a:cubicBezTo>
                  <a:lnTo>
                    <a:pt x="281451" y="288561"/>
                  </a:lnTo>
                  <a:lnTo>
                    <a:pt x="285755" y="252962"/>
                  </a:lnTo>
                  <a:lnTo>
                    <a:pt x="276685" y="239459"/>
                  </a:lnTo>
                  <a:cubicBezTo>
                    <a:pt x="274994" y="236544"/>
                    <a:pt x="275302" y="232861"/>
                    <a:pt x="277761" y="230253"/>
                  </a:cubicBezTo>
                  <a:cubicBezTo>
                    <a:pt x="279299" y="228565"/>
                    <a:pt x="281451" y="227644"/>
                    <a:pt x="283757" y="227644"/>
                  </a:cubicBezTo>
                  <a:close/>
                  <a:moveTo>
                    <a:pt x="243694" y="226776"/>
                  </a:moveTo>
                  <a:cubicBezTo>
                    <a:pt x="245999" y="226776"/>
                    <a:pt x="248150" y="228157"/>
                    <a:pt x="248918" y="230304"/>
                  </a:cubicBezTo>
                  <a:lnTo>
                    <a:pt x="285947" y="331870"/>
                  </a:lnTo>
                  <a:cubicBezTo>
                    <a:pt x="288098" y="337700"/>
                    <a:pt x="296395" y="337700"/>
                    <a:pt x="298546" y="331870"/>
                  </a:cubicBezTo>
                  <a:lnTo>
                    <a:pt x="335575" y="230304"/>
                  </a:lnTo>
                  <a:cubicBezTo>
                    <a:pt x="336651" y="227543"/>
                    <a:pt x="339570" y="226162"/>
                    <a:pt x="342336" y="226929"/>
                  </a:cubicBezTo>
                  <a:lnTo>
                    <a:pt x="360005" y="232299"/>
                  </a:lnTo>
                  <a:lnTo>
                    <a:pt x="360005" y="232452"/>
                  </a:lnTo>
                  <a:cubicBezTo>
                    <a:pt x="382438" y="239663"/>
                    <a:pt x="397495" y="260528"/>
                    <a:pt x="397495" y="284002"/>
                  </a:cubicBezTo>
                  <a:lnTo>
                    <a:pt x="397495" y="391704"/>
                  </a:lnTo>
                  <a:cubicBezTo>
                    <a:pt x="397495" y="392778"/>
                    <a:pt x="397188" y="393852"/>
                    <a:pt x="396573" y="394619"/>
                  </a:cubicBezTo>
                  <a:lnTo>
                    <a:pt x="358008" y="453379"/>
                  </a:lnTo>
                  <a:lnTo>
                    <a:pt x="358008" y="602045"/>
                  </a:lnTo>
                  <a:cubicBezTo>
                    <a:pt x="358008" y="605113"/>
                    <a:pt x="355549" y="607568"/>
                    <a:pt x="352476" y="607568"/>
                  </a:cubicBezTo>
                  <a:lnTo>
                    <a:pt x="232017" y="607568"/>
                  </a:lnTo>
                  <a:cubicBezTo>
                    <a:pt x="228944" y="607568"/>
                    <a:pt x="226485" y="605113"/>
                    <a:pt x="226485" y="602045"/>
                  </a:cubicBezTo>
                  <a:lnTo>
                    <a:pt x="226485" y="453379"/>
                  </a:lnTo>
                  <a:lnTo>
                    <a:pt x="187920" y="394619"/>
                  </a:lnTo>
                  <a:cubicBezTo>
                    <a:pt x="187305" y="393852"/>
                    <a:pt x="186998" y="392778"/>
                    <a:pt x="186998" y="391704"/>
                  </a:cubicBezTo>
                  <a:lnTo>
                    <a:pt x="186998" y="284309"/>
                  </a:lnTo>
                  <a:cubicBezTo>
                    <a:pt x="186998" y="260682"/>
                    <a:pt x="202055" y="239817"/>
                    <a:pt x="224488" y="232299"/>
                  </a:cubicBezTo>
                  <a:cubicBezTo>
                    <a:pt x="224488" y="232299"/>
                    <a:pt x="243233" y="226776"/>
                    <a:pt x="243694" y="226776"/>
                  </a:cubicBezTo>
                  <a:close/>
                  <a:moveTo>
                    <a:pt x="503026" y="160466"/>
                  </a:moveTo>
                  <a:cubicBezTo>
                    <a:pt x="529508" y="160466"/>
                    <a:pt x="550975" y="181870"/>
                    <a:pt x="550975" y="208274"/>
                  </a:cubicBezTo>
                  <a:cubicBezTo>
                    <a:pt x="550975" y="234678"/>
                    <a:pt x="529508" y="256082"/>
                    <a:pt x="503026" y="256082"/>
                  </a:cubicBezTo>
                  <a:cubicBezTo>
                    <a:pt x="476544" y="256082"/>
                    <a:pt x="455077" y="234678"/>
                    <a:pt x="455077" y="208274"/>
                  </a:cubicBezTo>
                  <a:cubicBezTo>
                    <a:pt x="455077" y="181870"/>
                    <a:pt x="476544" y="160466"/>
                    <a:pt x="503026" y="160466"/>
                  </a:cubicBezTo>
                  <a:close/>
                  <a:moveTo>
                    <a:pt x="81397" y="160466"/>
                  </a:moveTo>
                  <a:cubicBezTo>
                    <a:pt x="107879" y="160466"/>
                    <a:pt x="129346" y="181870"/>
                    <a:pt x="129346" y="208274"/>
                  </a:cubicBezTo>
                  <a:cubicBezTo>
                    <a:pt x="129346" y="234678"/>
                    <a:pt x="107879" y="256082"/>
                    <a:pt x="81397" y="256082"/>
                  </a:cubicBezTo>
                  <a:cubicBezTo>
                    <a:pt x="54915" y="256082"/>
                    <a:pt x="33448" y="234678"/>
                    <a:pt x="33448" y="208274"/>
                  </a:cubicBezTo>
                  <a:cubicBezTo>
                    <a:pt x="33448" y="181870"/>
                    <a:pt x="54915" y="160466"/>
                    <a:pt x="81397" y="160466"/>
                  </a:cubicBezTo>
                  <a:close/>
                  <a:moveTo>
                    <a:pt x="292212" y="79174"/>
                  </a:moveTo>
                  <a:cubicBezTo>
                    <a:pt x="326313" y="79174"/>
                    <a:pt x="353957" y="106786"/>
                    <a:pt x="353957" y="140848"/>
                  </a:cubicBezTo>
                  <a:cubicBezTo>
                    <a:pt x="353957" y="174910"/>
                    <a:pt x="326313" y="202522"/>
                    <a:pt x="292212" y="202522"/>
                  </a:cubicBezTo>
                  <a:cubicBezTo>
                    <a:pt x="258111" y="202522"/>
                    <a:pt x="230467" y="174910"/>
                    <a:pt x="230467" y="140848"/>
                  </a:cubicBezTo>
                  <a:cubicBezTo>
                    <a:pt x="230467" y="106786"/>
                    <a:pt x="258111" y="79174"/>
                    <a:pt x="292212" y="79174"/>
                  </a:cubicBezTo>
                  <a:close/>
                  <a:moveTo>
                    <a:pt x="292212" y="0"/>
                  </a:moveTo>
                  <a:cubicBezTo>
                    <a:pt x="376247" y="0"/>
                    <a:pt x="453677" y="38346"/>
                    <a:pt x="504683" y="105068"/>
                  </a:cubicBezTo>
                  <a:cubicBezTo>
                    <a:pt x="509906" y="111817"/>
                    <a:pt x="508523" y="121481"/>
                    <a:pt x="501764" y="126542"/>
                  </a:cubicBezTo>
                  <a:cubicBezTo>
                    <a:pt x="498998" y="128690"/>
                    <a:pt x="495772" y="129610"/>
                    <a:pt x="492546" y="129610"/>
                  </a:cubicBezTo>
                  <a:cubicBezTo>
                    <a:pt x="487937" y="129610"/>
                    <a:pt x="483328" y="127616"/>
                    <a:pt x="480409" y="123628"/>
                  </a:cubicBezTo>
                  <a:cubicBezTo>
                    <a:pt x="435088" y="64575"/>
                    <a:pt x="366569" y="30677"/>
                    <a:pt x="292212" y="30677"/>
                  </a:cubicBezTo>
                  <a:cubicBezTo>
                    <a:pt x="217854" y="30677"/>
                    <a:pt x="149335" y="64575"/>
                    <a:pt x="104014" y="123628"/>
                  </a:cubicBezTo>
                  <a:cubicBezTo>
                    <a:pt x="98944" y="130377"/>
                    <a:pt x="89265" y="131604"/>
                    <a:pt x="82659" y="126542"/>
                  </a:cubicBezTo>
                  <a:cubicBezTo>
                    <a:pt x="75900" y="121481"/>
                    <a:pt x="74517" y="111817"/>
                    <a:pt x="79740" y="105068"/>
                  </a:cubicBezTo>
                  <a:cubicBezTo>
                    <a:pt x="130746" y="38346"/>
                    <a:pt x="208176" y="0"/>
                    <a:pt x="29221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9940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项目题目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D10F49C-FD39-4E7F-AC07-8C4C21CEA7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FA7768-35EE-48CD-A11B-B3E538355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项目背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C37DEFD-C80C-4E52-9D9A-61C9985FA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b391065-092a-4dab-9ed4-5cccb84cb53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A73A8D2-514F-4791-B72C-EB090557C5F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4" y="1176016"/>
            <a:ext cx="11005888" cy="5127837"/>
            <a:chOff x="669924" y="1176016"/>
            <a:chExt cx="11005888" cy="5127837"/>
          </a:xfrm>
        </p:grpSpPr>
        <p:cxnSp>
          <p:nvCxnSpPr>
            <p:cNvPr id="6" name="直接箭头连接符 5">
              <a:extLst>
                <a:ext uri="{FF2B5EF4-FFF2-40B4-BE49-F238E27FC236}">
                  <a16:creationId xmlns:a16="http://schemas.microsoft.com/office/drawing/2014/main" id="{E7E59638-FB8D-44B0-B027-C8EC3B50AC79}"/>
                </a:ext>
              </a:extLst>
            </p:cNvPr>
            <p:cNvCxnSpPr/>
            <p:nvPr/>
          </p:nvCxnSpPr>
          <p:spPr>
            <a:xfrm>
              <a:off x="6032739" y="1958420"/>
              <a:ext cx="954240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íṩḷíďe">
              <a:extLst>
                <a:ext uri="{FF2B5EF4-FFF2-40B4-BE49-F238E27FC236}">
                  <a16:creationId xmlns:a16="http://schemas.microsoft.com/office/drawing/2014/main" id="{FF8976A2-FFB4-4700-A2B1-4C54911D8E50}"/>
                </a:ext>
              </a:extLst>
            </p:cNvPr>
            <p:cNvSpPr/>
            <p:nvPr/>
          </p:nvSpPr>
          <p:spPr>
            <a:xfrm>
              <a:off x="4289962" y="1176016"/>
              <a:ext cx="1898423" cy="1564806"/>
            </a:xfrm>
            <a:prstGeom prst="roundRect">
              <a:avLst>
                <a:gd name="adj" fmla="val 46218"/>
              </a:avLst>
            </a:prstGeom>
            <a:solidFill>
              <a:schemeClr val="bg1"/>
            </a:solidFill>
            <a:ln w="762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8" name="iṡḻïdê">
              <a:extLst>
                <a:ext uri="{FF2B5EF4-FFF2-40B4-BE49-F238E27FC236}">
                  <a16:creationId xmlns:a16="http://schemas.microsoft.com/office/drawing/2014/main" id="{041AF568-5818-4780-BBA1-A8D6C27CEF5B}"/>
                </a:ext>
              </a:extLst>
            </p:cNvPr>
            <p:cNvSpPr/>
            <p:nvPr/>
          </p:nvSpPr>
          <p:spPr bwMode="auto">
            <a:xfrm>
              <a:off x="4879496" y="1644021"/>
              <a:ext cx="628796" cy="628796"/>
            </a:xfrm>
            <a:custGeom>
              <a:avLst/>
              <a:gdLst>
                <a:gd name="T0" fmla="*/ 223 w 228"/>
                <a:gd name="T1" fmla="*/ 95 h 228"/>
                <a:gd name="T2" fmla="*/ 196 w 228"/>
                <a:gd name="T3" fmla="*/ 90 h 228"/>
                <a:gd name="T4" fmla="*/ 189 w 228"/>
                <a:gd name="T5" fmla="*/ 74 h 228"/>
                <a:gd name="T6" fmla="*/ 205 w 228"/>
                <a:gd name="T7" fmla="*/ 50 h 228"/>
                <a:gd name="T8" fmla="*/ 205 w 228"/>
                <a:gd name="T9" fmla="*/ 43 h 228"/>
                <a:gd name="T10" fmla="*/ 185 w 228"/>
                <a:gd name="T11" fmla="*/ 24 h 228"/>
                <a:gd name="T12" fmla="*/ 178 w 228"/>
                <a:gd name="T13" fmla="*/ 23 h 228"/>
                <a:gd name="T14" fmla="*/ 155 w 228"/>
                <a:gd name="T15" fmla="*/ 39 h 228"/>
                <a:gd name="T16" fmla="*/ 138 w 228"/>
                <a:gd name="T17" fmla="*/ 32 h 228"/>
                <a:gd name="T18" fmla="*/ 133 w 228"/>
                <a:gd name="T19" fmla="*/ 5 h 228"/>
                <a:gd name="T20" fmla="*/ 127 w 228"/>
                <a:gd name="T21" fmla="*/ 0 h 228"/>
                <a:gd name="T22" fmla="*/ 100 w 228"/>
                <a:gd name="T23" fmla="*/ 0 h 228"/>
                <a:gd name="T24" fmla="*/ 94 w 228"/>
                <a:gd name="T25" fmla="*/ 5 h 228"/>
                <a:gd name="T26" fmla="*/ 89 w 228"/>
                <a:gd name="T27" fmla="*/ 32 h 228"/>
                <a:gd name="T28" fmla="*/ 73 w 228"/>
                <a:gd name="T29" fmla="*/ 39 h 228"/>
                <a:gd name="T30" fmla="*/ 50 w 228"/>
                <a:gd name="T31" fmla="*/ 23 h 228"/>
                <a:gd name="T32" fmla="*/ 43 w 228"/>
                <a:gd name="T33" fmla="*/ 24 h 228"/>
                <a:gd name="T34" fmla="*/ 23 w 228"/>
                <a:gd name="T35" fmla="*/ 43 h 228"/>
                <a:gd name="T36" fmla="*/ 23 w 228"/>
                <a:gd name="T37" fmla="*/ 51 h 228"/>
                <a:gd name="T38" fmla="*/ 39 w 228"/>
                <a:gd name="T39" fmla="*/ 74 h 228"/>
                <a:gd name="T40" fmla="*/ 32 w 228"/>
                <a:gd name="T41" fmla="*/ 90 h 228"/>
                <a:gd name="T42" fmla="*/ 5 w 228"/>
                <a:gd name="T43" fmla="*/ 95 h 228"/>
                <a:gd name="T44" fmla="*/ 0 w 228"/>
                <a:gd name="T45" fmla="*/ 100 h 228"/>
                <a:gd name="T46" fmla="*/ 0 w 228"/>
                <a:gd name="T47" fmla="*/ 128 h 228"/>
                <a:gd name="T48" fmla="*/ 5 w 228"/>
                <a:gd name="T49" fmla="*/ 134 h 228"/>
                <a:gd name="T50" fmla="*/ 32 w 228"/>
                <a:gd name="T51" fmla="*/ 139 h 228"/>
                <a:gd name="T52" fmla="*/ 39 w 228"/>
                <a:gd name="T53" fmla="*/ 155 h 228"/>
                <a:gd name="T54" fmla="*/ 23 w 228"/>
                <a:gd name="T55" fmla="*/ 178 h 228"/>
                <a:gd name="T56" fmla="*/ 24 w 228"/>
                <a:gd name="T57" fmla="*/ 185 h 228"/>
                <a:gd name="T58" fmla="*/ 43 w 228"/>
                <a:gd name="T59" fmla="*/ 204 h 228"/>
                <a:gd name="T60" fmla="*/ 51 w 228"/>
                <a:gd name="T61" fmla="*/ 205 h 228"/>
                <a:gd name="T62" fmla="*/ 73 w 228"/>
                <a:gd name="T63" fmla="*/ 189 h 228"/>
                <a:gd name="T64" fmla="*/ 89 w 228"/>
                <a:gd name="T65" fmla="*/ 196 h 228"/>
                <a:gd name="T66" fmla="*/ 94 w 228"/>
                <a:gd name="T67" fmla="*/ 223 h 228"/>
                <a:gd name="T68" fmla="*/ 100 w 228"/>
                <a:gd name="T69" fmla="*/ 228 h 228"/>
                <a:gd name="T70" fmla="*/ 127 w 228"/>
                <a:gd name="T71" fmla="*/ 228 h 228"/>
                <a:gd name="T72" fmla="*/ 133 w 228"/>
                <a:gd name="T73" fmla="*/ 223 h 228"/>
                <a:gd name="T74" fmla="*/ 138 w 228"/>
                <a:gd name="T75" fmla="*/ 196 h 228"/>
                <a:gd name="T76" fmla="*/ 154 w 228"/>
                <a:gd name="T77" fmla="*/ 190 h 228"/>
                <a:gd name="T78" fmla="*/ 177 w 228"/>
                <a:gd name="T79" fmla="*/ 205 h 228"/>
                <a:gd name="T80" fmla="*/ 185 w 228"/>
                <a:gd name="T81" fmla="*/ 205 h 228"/>
                <a:gd name="T82" fmla="*/ 204 w 228"/>
                <a:gd name="T83" fmla="*/ 185 h 228"/>
                <a:gd name="T84" fmla="*/ 205 w 228"/>
                <a:gd name="T85" fmla="*/ 178 h 228"/>
                <a:gd name="T86" fmla="*/ 189 w 228"/>
                <a:gd name="T87" fmla="*/ 155 h 228"/>
                <a:gd name="T88" fmla="*/ 196 w 228"/>
                <a:gd name="T89" fmla="*/ 139 h 228"/>
                <a:gd name="T90" fmla="*/ 223 w 228"/>
                <a:gd name="T91" fmla="*/ 134 h 228"/>
                <a:gd name="T92" fmla="*/ 228 w 228"/>
                <a:gd name="T93" fmla="*/ 128 h 228"/>
                <a:gd name="T94" fmla="*/ 228 w 228"/>
                <a:gd name="T95" fmla="*/ 100 h 228"/>
                <a:gd name="T96" fmla="*/ 223 w 228"/>
                <a:gd name="T97" fmla="*/ 95 h 228"/>
                <a:gd name="T98" fmla="*/ 114 w 228"/>
                <a:gd name="T99" fmla="*/ 149 h 228"/>
                <a:gd name="T100" fmla="*/ 79 w 228"/>
                <a:gd name="T101" fmla="*/ 114 h 228"/>
                <a:gd name="T102" fmla="*/ 114 w 228"/>
                <a:gd name="T103" fmla="*/ 79 h 228"/>
                <a:gd name="T104" fmla="*/ 149 w 228"/>
                <a:gd name="T105" fmla="*/ 114 h 228"/>
                <a:gd name="T106" fmla="*/ 114 w 228"/>
                <a:gd name="T107" fmla="*/ 14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8" h="228">
                  <a:moveTo>
                    <a:pt x="223" y="95"/>
                  </a:moveTo>
                  <a:cubicBezTo>
                    <a:pt x="196" y="90"/>
                    <a:pt x="196" y="90"/>
                    <a:pt x="196" y="90"/>
                  </a:cubicBezTo>
                  <a:cubicBezTo>
                    <a:pt x="194" y="84"/>
                    <a:pt x="192" y="79"/>
                    <a:pt x="189" y="74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7" y="48"/>
                    <a:pt x="206" y="45"/>
                    <a:pt x="205" y="43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3" y="22"/>
                    <a:pt x="180" y="21"/>
                    <a:pt x="178" y="23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49" y="36"/>
                    <a:pt x="144" y="34"/>
                    <a:pt x="138" y="32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2"/>
                    <a:pt x="130" y="0"/>
                    <a:pt x="12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7" y="0"/>
                    <a:pt x="95" y="2"/>
                    <a:pt x="94" y="5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3" y="34"/>
                    <a:pt x="78" y="36"/>
                    <a:pt x="73" y="39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48" y="22"/>
                    <a:pt x="45" y="22"/>
                    <a:pt x="43" y="24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2" y="45"/>
                    <a:pt x="21" y="49"/>
                    <a:pt x="23" y="51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6" y="79"/>
                    <a:pt x="34" y="84"/>
                    <a:pt x="32" y="90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2" y="95"/>
                    <a:pt x="0" y="98"/>
                    <a:pt x="0" y="10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1"/>
                    <a:pt x="2" y="133"/>
                    <a:pt x="5" y="134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4" y="144"/>
                    <a:pt x="36" y="150"/>
                    <a:pt x="39" y="155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22" y="180"/>
                    <a:pt x="22" y="183"/>
                    <a:pt x="24" y="185"/>
                  </a:cubicBezTo>
                  <a:cubicBezTo>
                    <a:pt x="43" y="204"/>
                    <a:pt x="43" y="204"/>
                    <a:pt x="43" y="204"/>
                  </a:cubicBezTo>
                  <a:cubicBezTo>
                    <a:pt x="45" y="206"/>
                    <a:pt x="48" y="207"/>
                    <a:pt x="51" y="205"/>
                  </a:cubicBezTo>
                  <a:cubicBezTo>
                    <a:pt x="73" y="189"/>
                    <a:pt x="73" y="189"/>
                    <a:pt x="73" y="189"/>
                  </a:cubicBezTo>
                  <a:cubicBezTo>
                    <a:pt x="78" y="192"/>
                    <a:pt x="84" y="194"/>
                    <a:pt x="89" y="196"/>
                  </a:cubicBezTo>
                  <a:cubicBezTo>
                    <a:pt x="94" y="223"/>
                    <a:pt x="94" y="223"/>
                    <a:pt x="94" y="223"/>
                  </a:cubicBezTo>
                  <a:cubicBezTo>
                    <a:pt x="95" y="226"/>
                    <a:pt x="97" y="228"/>
                    <a:pt x="100" y="228"/>
                  </a:cubicBezTo>
                  <a:cubicBezTo>
                    <a:pt x="127" y="228"/>
                    <a:pt x="127" y="228"/>
                    <a:pt x="127" y="228"/>
                  </a:cubicBezTo>
                  <a:cubicBezTo>
                    <a:pt x="130" y="228"/>
                    <a:pt x="133" y="226"/>
                    <a:pt x="133" y="223"/>
                  </a:cubicBezTo>
                  <a:cubicBezTo>
                    <a:pt x="138" y="196"/>
                    <a:pt x="138" y="196"/>
                    <a:pt x="138" y="196"/>
                  </a:cubicBezTo>
                  <a:cubicBezTo>
                    <a:pt x="144" y="194"/>
                    <a:pt x="149" y="192"/>
                    <a:pt x="154" y="190"/>
                  </a:cubicBezTo>
                  <a:cubicBezTo>
                    <a:pt x="177" y="205"/>
                    <a:pt x="177" y="205"/>
                    <a:pt x="177" y="205"/>
                  </a:cubicBezTo>
                  <a:cubicBezTo>
                    <a:pt x="180" y="207"/>
                    <a:pt x="183" y="207"/>
                    <a:pt x="185" y="205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06" y="183"/>
                    <a:pt x="206" y="180"/>
                    <a:pt x="205" y="178"/>
                  </a:cubicBezTo>
                  <a:cubicBezTo>
                    <a:pt x="189" y="155"/>
                    <a:pt x="189" y="155"/>
                    <a:pt x="189" y="155"/>
                  </a:cubicBezTo>
                  <a:cubicBezTo>
                    <a:pt x="192" y="150"/>
                    <a:pt x="194" y="144"/>
                    <a:pt x="196" y="139"/>
                  </a:cubicBezTo>
                  <a:cubicBezTo>
                    <a:pt x="223" y="134"/>
                    <a:pt x="223" y="134"/>
                    <a:pt x="223" y="134"/>
                  </a:cubicBezTo>
                  <a:cubicBezTo>
                    <a:pt x="226" y="133"/>
                    <a:pt x="228" y="131"/>
                    <a:pt x="228" y="128"/>
                  </a:cubicBezTo>
                  <a:cubicBezTo>
                    <a:pt x="228" y="100"/>
                    <a:pt x="228" y="100"/>
                    <a:pt x="228" y="100"/>
                  </a:cubicBezTo>
                  <a:cubicBezTo>
                    <a:pt x="228" y="98"/>
                    <a:pt x="226" y="95"/>
                    <a:pt x="223" y="95"/>
                  </a:cubicBezTo>
                  <a:close/>
                  <a:moveTo>
                    <a:pt x="114" y="149"/>
                  </a:moveTo>
                  <a:cubicBezTo>
                    <a:pt x="95" y="149"/>
                    <a:pt x="79" y="133"/>
                    <a:pt x="79" y="114"/>
                  </a:cubicBezTo>
                  <a:cubicBezTo>
                    <a:pt x="79" y="95"/>
                    <a:pt x="95" y="79"/>
                    <a:pt x="114" y="79"/>
                  </a:cubicBezTo>
                  <a:cubicBezTo>
                    <a:pt x="133" y="79"/>
                    <a:pt x="149" y="95"/>
                    <a:pt x="149" y="114"/>
                  </a:cubicBezTo>
                  <a:cubicBezTo>
                    <a:pt x="149" y="133"/>
                    <a:pt x="133" y="149"/>
                    <a:pt x="114" y="14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î$ļíḓè">
              <a:extLst>
                <a:ext uri="{FF2B5EF4-FFF2-40B4-BE49-F238E27FC236}">
                  <a16:creationId xmlns:a16="http://schemas.microsoft.com/office/drawing/2014/main" id="{8BD81515-CE16-4215-9787-FE610B190D58}"/>
                </a:ext>
              </a:extLst>
            </p:cNvPr>
            <p:cNvSpPr/>
            <p:nvPr/>
          </p:nvSpPr>
          <p:spPr>
            <a:xfrm>
              <a:off x="7114652" y="1711563"/>
              <a:ext cx="3956367" cy="49195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 anchorCtr="0">
              <a:normAutofit/>
            </a:bodyPr>
            <a:lstStyle/>
            <a:p>
              <a:pPr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证件照是最基础、应用最广泛的人像摄影</a:t>
              </a:r>
            </a:p>
          </p:txBody>
        </p:sp>
        <p:cxnSp>
          <p:nvCxnSpPr>
            <p:cNvPr id="10" name="直接箭头连接符 9">
              <a:extLst>
                <a:ext uri="{FF2B5EF4-FFF2-40B4-BE49-F238E27FC236}">
                  <a16:creationId xmlns:a16="http://schemas.microsoft.com/office/drawing/2014/main" id="{C444206A-10BA-474B-8FB2-49A241623BBE}"/>
                </a:ext>
              </a:extLst>
            </p:cNvPr>
            <p:cNvCxnSpPr/>
            <p:nvPr/>
          </p:nvCxnSpPr>
          <p:spPr>
            <a:xfrm>
              <a:off x="6637532" y="3257550"/>
              <a:ext cx="954240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îŝḻïḑê">
              <a:extLst>
                <a:ext uri="{FF2B5EF4-FFF2-40B4-BE49-F238E27FC236}">
                  <a16:creationId xmlns:a16="http://schemas.microsoft.com/office/drawing/2014/main" id="{981CBD4C-B319-401B-8FC6-438CA02B74F7}"/>
                </a:ext>
              </a:extLst>
            </p:cNvPr>
            <p:cNvSpPr/>
            <p:nvPr/>
          </p:nvSpPr>
          <p:spPr>
            <a:xfrm>
              <a:off x="4928875" y="2475147"/>
              <a:ext cx="1898423" cy="1564806"/>
            </a:xfrm>
            <a:prstGeom prst="roundRect">
              <a:avLst>
                <a:gd name="adj" fmla="val 46218"/>
              </a:avLst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íṥḻíďé">
              <a:extLst>
                <a:ext uri="{FF2B5EF4-FFF2-40B4-BE49-F238E27FC236}">
                  <a16:creationId xmlns:a16="http://schemas.microsoft.com/office/drawing/2014/main" id="{D0579EF5-F1F0-439E-A655-BE4B1EB16CB8}"/>
                </a:ext>
              </a:extLst>
            </p:cNvPr>
            <p:cNvSpPr/>
            <p:nvPr/>
          </p:nvSpPr>
          <p:spPr bwMode="auto">
            <a:xfrm>
              <a:off x="5620965" y="2950248"/>
              <a:ext cx="628796" cy="628796"/>
            </a:xfrm>
            <a:custGeom>
              <a:avLst/>
              <a:gdLst>
                <a:gd name="T0" fmla="*/ 130 w 236"/>
                <a:gd name="T1" fmla="*/ 1 h 236"/>
                <a:gd name="T2" fmla="*/ 118 w 236"/>
                <a:gd name="T3" fmla="*/ 0 h 236"/>
                <a:gd name="T4" fmla="*/ 30 w 236"/>
                <a:gd name="T5" fmla="*/ 40 h 236"/>
                <a:gd name="T6" fmla="*/ 68 w 236"/>
                <a:gd name="T7" fmla="*/ 105 h 236"/>
                <a:gd name="T8" fmla="*/ 130 w 236"/>
                <a:gd name="T9" fmla="*/ 1 h 236"/>
                <a:gd name="T10" fmla="*/ 20 w 236"/>
                <a:gd name="T11" fmla="*/ 52 h 236"/>
                <a:gd name="T12" fmla="*/ 0 w 236"/>
                <a:gd name="T13" fmla="*/ 118 h 236"/>
                <a:gd name="T14" fmla="*/ 5 w 236"/>
                <a:gd name="T15" fmla="*/ 153 h 236"/>
                <a:gd name="T16" fmla="*/ 81 w 236"/>
                <a:gd name="T17" fmla="*/ 153 h 236"/>
                <a:gd name="T18" fmla="*/ 20 w 236"/>
                <a:gd name="T19" fmla="*/ 52 h 236"/>
                <a:gd name="T20" fmla="*/ 225 w 236"/>
                <a:gd name="T21" fmla="*/ 68 h 236"/>
                <a:gd name="T22" fmla="*/ 145 w 236"/>
                <a:gd name="T23" fmla="*/ 3 h 236"/>
                <a:gd name="T24" fmla="*/ 106 w 236"/>
                <a:gd name="T25" fmla="*/ 68 h 236"/>
                <a:gd name="T26" fmla="*/ 225 w 236"/>
                <a:gd name="T27" fmla="*/ 68 h 236"/>
                <a:gd name="T28" fmla="*/ 130 w 236"/>
                <a:gd name="T29" fmla="*/ 167 h 236"/>
                <a:gd name="T30" fmla="*/ 11 w 236"/>
                <a:gd name="T31" fmla="*/ 167 h 236"/>
                <a:gd name="T32" fmla="*/ 96 w 236"/>
                <a:gd name="T33" fmla="*/ 234 h 236"/>
                <a:gd name="T34" fmla="*/ 93 w 236"/>
                <a:gd name="T35" fmla="*/ 232 h 236"/>
                <a:gd name="T36" fmla="*/ 130 w 236"/>
                <a:gd name="T37" fmla="*/ 167 h 236"/>
                <a:gd name="T38" fmla="*/ 230 w 236"/>
                <a:gd name="T39" fmla="*/ 82 h 236"/>
                <a:gd name="T40" fmla="*/ 155 w 236"/>
                <a:gd name="T41" fmla="*/ 82 h 236"/>
                <a:gd name="T42" fmla="*/ 215 w 236"/>
                <a:gd name="T43" fmla="*/ 186 h 236"/>
                <a:gd name="T44" fmla="*/ 236 w 236"/>
                <a:gd name="T45" fmla="*/ 118 h 236"/>
                <a:gd name="T46" fmla="*/ 230 w 236"/>
                <a:gd name="T47" fmla="*/ 82 h 236"/>
                <a:gd name="T48" fmla="*/ 108 w 236"/>
                <a:gd name="T49" fmla="*/ 236 h 236"/>
                <a:gd name="T50" fmla="*/ 118 w 236"/>
                <a:gd name="T51" fmla="*/ 236 h 236"/>
                <a:gd name="T52" fmla="*/ 205 w 236"/>
                <a:gd name="T53" fmla="*/ 198 h 236"/>
                <a:gd name="T54" fmla="*/ 167 w 236"/>
                <a:gd name="T55" fmla="*/ 132 h 236"/>
                <a:gd name="T56" fmla="*/ 108 w 236"/>
                <a:gd name="T57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" h="236">
                  <a:moveTo>
                    <a:pt x="130" y="1"/>
                  </a:moveTo>
                  <a:cubicBezTo>
                    <a:pt x="126" y="0"/>
                    <a:pt x="122" y="0"/>
                    <a:pt x="118" y="0"/>
                  </a:cubicBezTo>
                  <a:cubicBezTo>
                    <a:pt x="83" y="0"/>
                    <a:pt x="51" y="16"/>
                    <a:pt x="30" y="40"/>
                  </a:cubicBezTo>
                  <a:cubicBezTo>
                    <a:pt x="68" y="105"/>
                    <a:pt x="68" y="105"/>
                    <a:pt x="68" y="105"/>
                  </a:cubicBezTo>
                  <a:lnTo>
                    <a:pt x="130" y="1"/>
                  </a:lnTo>
                  <a:close/>
                  <a:moveTo>
                    <a:pt x="20" y="52"/>
                  </a:moveTo>
                  <a:cubicBezTo>
                    <a:pt x="7" y="71"/>
                    <a:pt x="0" y="94"/>
                    <a:pt x="0" y="118"/>
                  </a:cubicBezTo>
                  <a:cubicBezTo>
                    <a:pt x="0" y="130"/>
                    <a:pt x="2" y="142"/>
                    <a:pt x="5" y="153"/>
                  </a:cubicBezTo>
                  <a:cubicBezTo>
                    <a:pt x="81" y="153"/>
                    <a:pt x="81" y="153"/>
                    <a:pt x="81" y="153"/>
                  </a:cubicBezTo>
                  <a:lnTo>
                    <a:pt x="20" y="52"/>
                  </a:lnTo>
                  <a:close/>
                  <a:moveTo>
                    <a:pt x="225" y="68"/>
                  </a:moveTo>
                  <a:cubicBezTo>
                    <a:pt x="210" y="36"/>
                    <a:pt x="180" y="11"/>
                    <a:pt x="145" y="3"/>
                  </a:cubicBezTo>
                  <a:cubicBezTo>
                    <a:pt x="106" y="68"/>
                    <a:pt x="106" y="68"/>
                    <a:pt x="106" y="68"/>
                  </a:cubicBezTo>
                  <a:lnTo>
                    <a:pt x="225" y="68"/>
                  </a:lnTo>
                  <a:close/>
                  <a:moveTo>
                    <a:pt x="130" y="167"/>
                  </a:moveTo>
                  <a:cubicBezTo>
                    <a:pt x="11" y="167"/>
                    <a:pt x="11" y="167"/>
                    <a:pt x="11" y="167"/>
                  </a:cubicBezTo>
                  <a:cubicBezTo>
                    <a:pt x="26" y="201"/>
                    <a:pt x="58" y="227"/>
                    <a:pt x="96" y="234"/>
                  </a:cubicBezTo>
                  <a:cubicBezTo>
                    <a:pt x="93" y="232"/>
                    <a:pt x="93" y="232"/>
                    <a:pt x="93" y="232"/>
                  </a:cubicBezTo>
                  <a:lnTo>
                    <a:pt x="130" y="167"/>
                  </a:lnTo>
                  <a:close/>
                  <a:moveTo>
                    <a:pt x="230" y="82"/>
                  </a:moveTo>
                  <a:cubicBezTo>
                    <a:pt x="155" y="82"/>
                    <a:pt x="155" y="82"/>
                    <a:pt x="155" y="82"/>
                  </a:cubicBezTo>
                  <a:cubicBezTo>
                    <a:pt x="215" y="186"/>
                    <a:pt x="215" y="186"/>
                    <a:pt x="215" y="186"/>
                  </a:cubicBezTo>
                  <a:cubicBezTo>
                    <a:pt x="228" y="167"/>
                    <a:pt x="236" y="143"/>
                    <a:pt x="236" y="118"/>
                  </a:cubicBezTo>
                  <a:cubicBezTo>
                    <a:pt x="236" y="106"/>
                    <a:pt x="234" y="94"/>
                    <a:pt x="230" y="82"/>
                  </a:cubicBezTo>
                  <a:close/>
                  <a:moveTo>
                    <a:pt x="108" y="236"/>
                  </a:moveTo>
                  <a:cubicBezTo>
                    <a:pt x="111" y="236"/>
                    <a:pt x="115" y="236"/>
                    <a:pt x="118" y="236"/>
                  </a:cubicBezTo>
                  <a:cubicBezTo>
                    <a:pt x="152" y="236"/>
                    <a:pt x="183" y="221"/>
                    <a:pt x="205" y="198"/>
                  </a:cubicBezTo>
                  <a:cubicBezTo>
                    <a:pt x="167" y="132"/>
                    <a:pt x="167" y="132"/>
                    <a:pt x="167" y="132"/>
                  </a:cubicBezTo>
                  <a:lnTo>
                    <a:pt x="108" y="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$ļíḓe">
              <a:extLst>
                <a:ext uri="{FF2B5EF4-FFF2-40B4-BE49-F238E27FC236}">
                  <a16:creationId xmlns:a16="http://schemas.microsoft.com/office/drawing/2014/main" id="{92113BB6-DD77-41C4-ADCA-2D05A68FABE8}"/>
                </a:ext>
              </a:extLst>
            </p:cNvPr>
            <p:cNvSpPr/>
            <p:nvPr/>
          </p:nvSpPr>
          <p:spPr>
            <a:xfrm>
              <a:off x="7719445" y="2834002"/>
              <a:ext cx="3956367" cy="84709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anchor="ctr" anchorCtr="0">
              <a:normAutofit/>
            </a:bodyPr>
            <a:lstStyle/>
            <a:p>
              <a:pPr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在照相馆制作证件照需要花费高额的价格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zh-CN" altLang="en-US" sz="1600" b="1" dirty="0">
                  <a:solidFill>
                    <a:schemeClr val="bg1"/>
                  </a:solidFill>
                </a:rPr>
                <a:t>同时需要花费一定的等待时间成本</a:t>
              </a:r>
            </a:p>
          </p:txBody>
        </p:sp>
        <p:cxnSp>
          <p:nvCxnSpPr>
            <p:cNvPr id="15" name="直接箭头连接符 14">
              <a:extLst>
                <a:ext uri="{FF2B5EF4-FFF2-40B4-BE49-F238E27FC236}">
                  <a16:creationId xmlns:a16="http://schemas.microsoft.com/office/drawing/2014/main" id="{77F34000-BB44-4463-9A19-63B554C1CBEB}"/>
                </a:ext>
              </a:extLst>
            </p:cNvPr>
            <p:cNvCxnSpPr/>
            <p:nvPr/>
          </p:nvCxnSpPr>
          <p:spPr>
            <a:xfrm>
              <a:off x="7242325" y="4556681"/>
              <a:ext cx="954240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iṣḷïḑè">
              <a:extLst>
                <a:ext uri="{FF2B5EF4-FFF2-40B4-BE49-F238E27FC236}">
                  <a16:creationId xmlns:a16="http://schemas.microsoft.com/office/drawing/2014/main" id="{D60C0974-C4B2-43F4-A986-C5F40704CD98}"/>
                </a:ext>
              </a:extLst>
            </p:cNvPr>
            <p:cNvSpPr/>
            <p:nvPr/>
          </p:nvSpPr>
          <p:spPr>
            <a:xfrm>
              <a:off x="5567787" y="3774278"/>
              <a:ext cx="1898423" cy="1564806"/>
            </a:xfrm>
            <a:prstGeom prst="roundRect">
              <a:avLst>
                <a:gd name="adj" fmla="val 46218"/>
              </a:avLst>
            </a:prstGeom>
            <a:solidFill>
              <a:schemeClr val="bg1"/>
            </a:solidFill>
            <a:ln w="762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sľïḑe">
              <a:extLst>
                <a:ext uri="{FF2B5EF4-FFF2-40B4-BE49-F238E27FC236}">
                  <a16:creationId xmlns:a16="http://schemas.microsoft.com/office/drawing/2014/main" id="{51BC148D-3C14-49C4-A5B6-9E6DFEA7A246}"/>
                </a:ext>
              </a:extLst>
            </p:cNvPr>
            <p:cNvSpPr/>
            <p:nvPr/>
          </p:nvSpPr>
          <p:spPr bwMode="auto">
            <a:xfrm>
              <a:off x="6188385" y="4305698"/>
              <a:ext cx="628796" cy="628796"/>
            </a:xfrm>
            <a:custGeom>
              <a:avLst/>
              <a:gdLst>
                <a:gd name="T0" fmla="*/ 118 w 236"/>
                <a:gd name="T1" fmla="*/ 0 h 236"/>
                <a:gd name="T2" fmla="*/ 0 w 236"/>
                <a:gd name="T3" fmla="*/ 118 h 236"/>
                <a:gd name="T4" fmla="*/ 118 w 236"/>
                <a:gd name="T5" fmla="*/ 236 h 236"/>
                <a:gd name="T6" fmla="*/ 236 w 236"/>
                <a:gd name="T7" fmla="*/ 118 h 236"/>
                <a:gd name="T8" fmla="*/ 118 w 236"/>
                <a:gd name="T9" fmla="*/ 0 h 236"/>
                <a:gd name="T10" fmla="*/ 106 w 236"/>
                <a:gd name="T11" fmla="*/ 171 h 236"/>
                <a:gd name="T12" fmla="*/ 54 w 236"/>
                <a:gd name="T13" fmla="*/ 163 h 236"/>
                <a:gd name="T14" fmla="*/ 54 w 236"/>
                <a:gd name="T15" fmla="*/ 121 h 236"/>
                <a:gd name="T16" fmla="*/ 106 w 236"/>
                <a:gd name="T17" fmla="*/ 121 h 236"/>
                <a:gd name="T18" fmla="*/ 106 w 236"/>
                <a:gd name="T19" fmla="*/ 171 h 236"/>
                <a:gd name="T20" fmla="*/ 106 w 236"/>
                <a:gd name="T21" fmla="*/ 114 h 236"/>
                <a:gd name="T22" fmla="*/ 54 w 236"/>
                <a:gd name="T23" fmla="*/ 114 h 236"/>
                <a:gd name="T24" fmla="*/ 54 w 236"/>
                <a:gd name="T25" fmla="*/ 72 h 236"/>
                <a:gd name="T26" fmla="*/ 106 w 236"/>
                <a:gd name="T27" fmla="*/ 64 h 236"/>
                <a:gd name="T28" fmla="*/ 106 w 236"/>
                <a:gd name="T29" fmla="*/ 114 h 236"/>
                <a:gd name="T30" fmla="*/ 182 w 236"/>
                <a:gd name="T31" fmla="*/ 182 h 236"/>
                <a:gd name="T32" fmla="*/ 113 w 236"/>
                <a:gd name="T33" fmla="*/ 172 h 236"/>
                <a:gd name="T34" fmla="*/ 113 w 236"/>
                <a:gd name="T35" fmla="*/ 121 h 236"/>
                <a:gd name="T36" fmla="*/ 182 w 236"/>
                <a:gd name="T37" fmla="*/ 121 h 236"/>
                <a:gd name="T38" fmla="*/ 182 w 236"/>
                <a:gd name="T39" fmla="*/ 182 h 236"/>
                <a:gd name="T40" fmla="*/ 182 w 236"/>
                <a:gd name="T41" fmla="*/ 114 h 236"/>
                <a:gd name="T42" fmla="*/ 113 w 236"/>
                <a:gd name="T43" fmla="*/ 114 h 236"/>
                <a:gd name="T44" fmla="*/ 113 w 236"/>
                <a:gd name="T45" fmla="*/ 63 h 236"/>
                <a:gd name="T46" fmla="*/ 182 w 236"/>
                <a:gd name="T47" fmla="*/ 53 h 236"/>
                <a:gd name="T48" fmla="*/ 182 w 236"/>
                <a:gd name="T49" fmla="*/ 11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6" h="236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83" y="236"/>
                    <a:pt x="236" y="183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close/>
                  <a:moveTo>
                    <a:pt x="106" y="171"/>
                  </a:moveTo>
                  <a:cubicBezTo>
                    <a:pt x="54" y="163"/>
                    <a:pt x="54" y="163"/>
                    <a:pt x="54" y="163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106" y="121"/>
                    <a:pt x="106" y="121"/>
                    <a:pt x="106" y="121"/>
                  </a:cubicBezTo>
                  <a:lnTo>
                    <a:pt x="106" y="171"/>
                  </a:lnTo>
                  <a:close/>
                  <a:moveTo>
                    <a:pt x="106" y="114"/>
                  </a:moveTo>
                  <a:cubicBezTo>
                    <a:pt x="54" y="114"/>
                    <a:pt x="54" y="114"/>
                    <a:pt x="54" y="114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106" y="64"/>
                    <a:pt x="106" y="64"/>
                    <a:pt x="106" y="64"/>
                  </a:cubicBezTo>
                  <a:lnTo>
                    <a:pt x="106" y="114"/>
                  </a:lnTo>
                  <a:close/>
                  <a:moveTo>
                    <a:pt x="182" y="182"/>
                  </a:moveTo>
                  <a:cubicBezTo>
                    <a:pt x="113" y="172"/>
                    <a:pt x="113" y="172"/>
                    <a:pt x="113" y="172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82" y="121"/>
                    <a:pt x="182" y="121"/>
                    <a:pt x="182" y="121"/>
                  </a:cubicBezTo>
                  <a:lnTo>
                    <a:pt x="182" y="182"/>
                  </a:lnTo>
                  <a:close/>
                  <a:moveTo>
                    <a:pt x="182" y="114"/>
                  </a:moveTo>
                  <a:cubicBezTo>
                    <a:pt x="113" y="114"/>
                    <a:pt x="113" y="114"/>
                    <a:pt x="113" y="114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82" y="53"/>
                    <a:pt x="182" y="53"/>
                    <a:pt x="182" y="53"/>
                  </a:cubicBezTo>
                  <a:lnTo>
                    <a:pt x="182" y="11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śḻiḍé">
              <a:extLst>
                <a:ext uri="{FF2B5EF4-FFF2-40B4-BE49-F238E27FC236}">
                  <a16:creationId xmlns:a16="http://schemas.microsoft.com/office/drawing/2014/main" id="{5A10FD48-06D0-414D-950D-887728BFF420}"/>
                </a:ext>
              </a:extLst>
            </p:cNvPr>
            <p:cNvSpPr/>
            <p:nvPr/>
          </p:nvSpPr>
          <p:spPr>
            <a:xfrm>
              <a:off x="8294255" y="4103445"/>
              <a:ext cx="3139939" cy="847094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 anchorCtr="0">
              <a:norm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</a:rPr>
                <a:t>证件照对尺寸有着严格的要求</a:t>
              </a:r>
              <a:endParaRPr lang="en-US" altLang="zh-CN" sz="1600" b="1" dirty="0">
                <a:solidFill>
                  <a:schemeClr val="bg1"/>
                </a:solidFill>
              </a:endParaRPr>
            </a:p>
            <a:p>
              <a:r>
                <a:rPr lang="zh-CN" altLang="en-US" sz="1600" b="1" dirty="0">
                  <a:solidFill>
                    <a:schemeClr val="bg1"/>
                  </a:solidFill>
                </a:rPr>
                <a:t>利用一般的拍照软件难以实现</a:t>
              </a:r>
            </a:p>
          </p:txBody>
        </p:sp>
        <p:sp>
          <p:nvSpPr>
            <p:cNvPr id="19" name="ïşḷïḑê">
              <a:extLst>
                <a:ext uri="{FF2B5EF4-FFF2-40B4-BE49-F238E27FC236}">
                  <a16:creationId xmlns:a16="http://schemas.microsoft.com/office/drawing/2014/main" id="{C7359840-31A7-4905-9747-F7872D8099E3}"/>
                </a:ext>
              </a:extLst>
            </p:cNvPr>
            <p:cNvSpPr txBox="1"/>
            <p:nvPr/>
          </p:nvSpPr>
          <p:spPr>
            <a:xfrm>
              <a:off x="673102" y="3845994"/>
              <a:ext cx="4255773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b" anchorCtr="0">
              <a:normAutofit/>
            </a:bodyPr>
            <a:lstStyle/>
            <a:p>
              <a:pPr>
                <a:buSzPct val="25000"/>
              </a:pPr>
              <a:r>
                <a:rPr lang="zh-CN" altLang="en-US" sz="2400" b="1" dirty="0"/>
                <a:t>使用人群</a:t>
              </a:r>
              <a:endParaRPr lang="en-US" sz="2400" b="1" dirty="0"/>
            </a:p>
          </p:txBody>
        </p:sp>
        <p:sp>
          <p:nvSpPr>
            <p:cNvPr id="20" name="îSḷïďê">
              <a:extLst>
                <a:ext uri="{FF2B5EF4-FFF2-40B4-BE49-F238E27FC236}">
                  <a16:creationId xmlns:a16="http://schemas.microsoft.com/office/drawing/2014/main" id="{B07EA2A7-20B9-4794-9221-6F88A5C9AEF5}"/>
                </a:ext>
              </a:extLst>
            </p:cNvPr>
            <p:cNvSpPr txBox="1"/>
            <p:nvPr/>
          </p:nvSpPr>
          <p:spPr>
            <a:xfrm>
              <a:off x="669924" y="4739047"/>
              <a:ext cx="5050063" cy="15648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ctr" anchorCtr="0">
              <a:norm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zh-CN" altLang="en-US" sz="1600" dirty="0"/>
                <a:t>需要较短时间内能够获得制定尺寸证件照的用户</a:t>
              </a:r>
              <a:endParaRPr lang="en-US" altLang="zh-CN" sz="1600" dirty="0"/>
            </a:p>
            <a:p>
              <a:pPr>
                <a:lnSpc>
                  <a:spcPct val="150000"/>
                </a:lnSpc>
                <a:buSzPct val="25000"/>
              </a:pPr>
              <a:r>
                <a:rPr lang="zh-CN" altLang="en-US" sz="1600" dirty="0"/>
                <a:t>需要制作有意思的个性照片的用户</a:t>
              </a:r>
              <a:endParaRPr lang="en-US" sz="1600" dirty="0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65AFB6C-6018-421D-B723-904E93BCE084}"/>
              </a:ext>
            </a:extLst>
          </p:cNvPr>
          <p:cNvSpPr txBox="1"/>
          <p:nvPr/>
        </p:nvSpPr>
        <p:spPr>
          <a:xfrm>
            <a:off x="6258924" y="1526184"/>
            <a:ext cx="657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常用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AA52FF4-1F9B-4E18-84BB-693CBAECADD5}"/>
              </a:ext>
            </a:extLst>
          </p:cNvPr>
          <p:cNvSpPr txBox="1"/>
          <p:nvPr/>
        </p:nvSpPr>
        <p:spPr>
          <a:xfrm>
            <a:off x="6916439" y="2879425"/>
            <a:ext cx="7324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成本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D27ACEB-9A5E-4E1A-AF6A-AC225ED06602}"/>
              </a:ext>
            </a:extLst>
          </p:cNvPr>
          <p:cNvSpPr txBox="1"/>
          <p:nvPr/>
        </p:nvSpPr>
        <p:spPr>
          <a:xfrm>
            <a:off x="7561610" y="4163731"/>
            <a:ext cx="7324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技术</a:t>
            </a:r>
          </a:p>
        </p:txBody>
      </p:sp>
    </p:spTree>
    <p:extLst>
      <p:ext uri="{BB962C8B-B14F-4D97-AF65-F5344CB8AC3E}">
        <p14:creationId xmlns:p14="http://schemas.microsoft.com/office/powerpoint/2010/main" val="2482784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B97538-448A-4299-8ADA-C16B16FE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项目题目</a:t>
            </a:r>
          </a:p>
        </p:txBody>
      </p:sp>
      <p:sp>
        <p:nvSpPr>
          <p:cNvPr id="6" name="ïś1íḓé">
            <a:extLst>
              <a:ext uri="{FF2B5EF4-FFF2-40B4-BE49-F238E27FC236}">
                <a16:creationId xmlns:a16="http://schemas.microsoft.com/office/drawing/2014/main" id="{72D64E2A-C7F8-4EF4-9E08-97FC7A6B3516}"/>
              </a:ext>
            </a:extLst>
          </p:cNvPr>
          <p:cNvSpPr txBox="1"/>
          <p:nvPr/>
        </p:nvSpPr>
        <p:spPr>
          <a:xfrm>
            <a:off x="668337" y="1331154"/>
            <a:ext cx="10850562" cy="85825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>
              <a:buSzPct val="25000"/>
            </a:pPr>
            <a:r>
              <a:rPr lang="zh-CN" altLang="en-US" sz="4800" dirty="0">
                <a:solidFill>
                  <a:srgbClr val="3A3838"/>
                </a:solidFill>
              </a:rPr>
              <a:t>最美证件照平台</a:t>
            </a:r>
            <a:endParaRPr lang="en-US" sz="4800" dirty="0">
              <a:solidFill>
                <a:srgbClr val="3A3838"/>
              </a:solidFill>
            </a:endParaRPr>
          </a:p>
        </p:txBody>
      </p:sp>
      <p:sp>
        <p:nvSpPr>
          <p:cNvPr id="7" name="îś1ïḍe">
            <a:extLst>
              <a:ext uri="{FF2B5EF4-FFF2-40B4-BE49-F238E27FC236}">
                <a16:creationId xmlns:a16="http://schemas.microsoft.com/office/drawing/2014/main" id="{0420291C-F064-4BF3-9E26-19521E77FFDB}"/>
              </a:ext>
            </a:extLst>
          </p:cNvPr>
          <p:cNvSpPr txBox="1"/>
          <p:nvPr/>
        </p:nvSpPr>
        <p:spPr>
          <a:xfrm>
            <a:off x="668342" y="2293009"/>
            <a:ext cx="10850557" cy="14032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buSzPct val="25000"/>
            </a:pPr>
            <a:endParaRPr lang="en-US" altLang="zh-CN" dirty="0"/>
          </a:p>
          <a:p>
            <a:pPr algn="ctr">
              <a:lnSpc>
                <a:spcPct val="150000"/>
              </a:lnSpc>
              <a:buSzPct val="25000"/>
            </a:pPr>
            <a:r>
              <a:rPr lang="zh-CN" altLang="en-US" dirty="0"/>
              <a:t>一个前后端分离的在线制作证件照平台</a:t>
            </a:r>
            <a:r>
              <a:rPr lang="en-US" altLang="zh-CN" dirty="0"/>
              <a:t>WEB</a:t>
            </a:r>
            <a:r>
              <a:rPr lang="zh-CN" altLang="en-US" dirty="0"/>
              <a:t>应用</a:t>
            </a:r>
            <a:endParaRPr lang="en-US" altLang="zh-CN" dirty="0"/>
          </a:p>
          <a:p>
            <a:pPr algn="ctr">
              <a:lnSpc>
                <a:spcPct val="150000"/>
              </a:lnSpc>
              <a:buSzPct val="25000"/>
            </a:pPr>
            <a:r>
              <a:rPr lang="zh-CN" altLang="en-US" dirty="0"/>
              <a:t>本平台拥有诸多页面，由平台首页、用户登录页、证件照，个性照片制作页面、历史记录查询页面等构成</a:t>
            </a:r>
            <a:endParaRPr lang="en-US" dirty="0"/>
          </a:p>
        </p:txBody>
      </p:sp>
      <p:grpSp>
        <p:nvGrpSpPr>
          <p:cNvPr id="8" name="ïśḷïďè">
            <a:extLst>
              <a:ext uri="{FF2B5EF4-FFF2-40B4-BE49-F238E27FC236}">
                <a16:creationId xmlns:a16="http://schemas.microsoft.com/office/drawing/2014/main" id="{82A4559F-9898-4161-8EB0-704A0E1F0BF9}"/>
              </a:ext>
            </a:extLst>
          </p:cNvPr>
          <p:cNvGrpSpPr/>
          <p:nvPr/>
        </p:nvGrpSpPr>
        <p:grpSpPr>
          <a:xfrm>
            <a:off x="673101" y="4828637"/>
            <a:ext cx="3200235" cy="1094011"/>
            <a:chOff x="660400" y="1780903"/>
            <a:chExt cx="4388445" cy="1094011"/>
          </a:xfrm>
        </p:grpSpPr>
        <p:sp>
          <p:nvSpPr>
            <p:cNvPr id="25" name="îśḻîďe">
              <a:extLst>
                <a:ext uri="{FF2B5EF4-FFF2-40B4-BE49-F238E27FC236}">
                  <a16:creationId xmlns:a16="http://schemas.microsoft.com/office/drawing/2014/main" id="{5E918FEB-80D3-43B0-87D7-CBA00B261D12}"/>
                </a:ext>
              </a:extLst>
            </p:cNvPr>
            <p:cNvSpPr/>
            <p:nvPr/>
          </p:nvSpPr>
          <p:spPr bwMode="auto">
            <a:xfrm>
              <a:off x="660400" y="2193783"/>
              <a:ext cx="4388445" cy="681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/>
                <a:t>包括注册、登录、认证等功能</a:t>
              </a:r>
              <a:endParaRPr lang="en-US" altLang="zh-CN" sz="1600" dirty="0"/>
            </a:p>
          </p:txBody>
        </p:sp>
        <p:sp>
          <p:nvSpPr>
            <p:cNvPr id="26" name="ïśľiḓe">
              <a:extLst>
                <a:ext uri="{FF2B5EF4-FFF2-40B4-BE49-F238E27FC236}">
                  <a16:creationId xmlns:a16="http://schemas.microsoft.com/office/drawing/2014/main" id="{9B86A7F5-C408-4AD6-976A-78F808315ABD}"/>
                </a:ext>
              </a:extLst>
            </p:cNvPr>
            <p:cNvSpPr txBox="1"/>
            <p:nvPr/>
          </p:nvSpPr>
          <p:spPr bwMode="auto">
            <a:xfrm>
              <a:off x="660400" y="1780903"/>
              <a:ext cx="438844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400" b="1" dirty="0"/>
                <a:t>账号管理</a:t>
              </a:r>
              <a:endParaRPr lang="en-US" altLang="zh-CN" sz="2400" b="1" dirty="0"/>
            </a:p>
          </p:txBody>
        </p:sp>
      </p:grpSp>
      <p:grpSp>
        <p:nvGrpSpPr>
          <p:cNvPr id="9" name="işľïďe">
            <a:extLst>
              <a:ext uri="{FF2B5EF4-FFF2-40B4-BE49-F238E27FC236}">
                <a16:creationId xmlns:a16="http://schemas.microsoft.com/office/drawing/2014/main" id="{464C3ECE-DD0E-40FC-B29F-15A1495A1CF2}"/>
              </a:ext>
            </a:extLst>
          </p:cNvPr>
          <p:cNvGrpSpPr/>
          <p:nvPr/>
        </p:nvGrpSpPr>
        <p:grpSpPr>
          <a:xfrm>
            <a:off x="8412479" y="4828637"/>
            <a:ext cx="3112099" cy="1094011"/>
            <a:chOff x="8412479" y="4973780"/>
            <a:chExt cx="3112099" cy="1094011"/>
          </a:xfrm>
        </p:grpSpPr>
        <p:sp>
          <p:nvSpPr>
            <p:cNvPr id="23" name="išḷîḓê">
              <a:extLst>
                <a:ext uri="{FF2B5EF4-FFF2-40B4-BE49-F238E27FC236}">
                  <a16:creationId xmlns:a16="http://schemas.microsoft.com/office/drawing/2014/main" id="{3553B495-AF4D-4FAA-A8D9-BAC493AE6E3C}"/>
                </a:ext>
              </a:extLst>
            </p:cNvPr>
            <p:cNvSpPr/>
            <p:nvPr/>
          </p:nvSpPr>
          <p:spPr bwMode="auto">
            <a:xfrm>
              <a:off x="8412479" y="5386660"/>
              <a:ext cx="3112099" cy="681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/>
                <a:t>利用用户提供的背景，进而合成想要的个性照片或者海报图片</a:t>
              </a:r>
              <a:endParaRPr lang="en-US" altLang="zh-CN" sz="1600" dirty="0"/>
            </a:p>
          </p:txBody>
        </p:sp>
        <p:sp>
          <p:nvSpPr>
            <p:cNvPr id="24" name="ïŝľïdé">
              <a:extLst>
                <a:ext uri="{FF2B5EF4-FFF2-40B4-BE49-F238E27FC236}">
                  <a16:creationId xmlns:a16="http://schemas.microsoft.com/office/drawing/2014/main" id="{514273F1-3ED8-4580-A6DF-3A574CF71143}"/>
                </a:ext>
              </a:extLst>
            </p:cNvPr>
            <p:cNvSpPr txBox="1"/>
            <p:nvPr/>
          </p:nvSpPr>
          <p:spPr bwMode="auto">
            <a:xfrm>
              <a:off x="8412479" y="4973780"/>
              <a:ext cx="3112099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400" b="1" dirty="0"/>
                <a:t>制作个性照片</a:t>
              </a:r>
              <a:endParaRPr lang="en-US" altLang="zh-CN" sz="2400" b="1" dirty="0"/>
            </a:p>
          </p:txBody>
        </p:sp>
      </p:grpSp>
      <p:grpSp>
        <p:nvGrpSpPr>
          <p:cNvPr id="10" name="íŝḻiḋe">
            <a:extLst>
              <a:ext uri="{FF2B5EF4-FFF2-40B4-BE49-F238E27FC236}">
                <a16:creationId xmlns:a16="http://schemas.microsoft.com/office/drawing/2014/main" id="{A509659F-2AE4-4736-9F89-D69FA9AF7366}"/>
              </a:ext>
            </a:extLst>
          </p:cNvPr>
          <p:cNvGrpSpPr/>
          <p:nvPr/>
        </p:nvGrpSpPr>
        <p:grpSpPr>
          <a:xfrm>
            <a:off x="0" y="4110303"/>
            <a:ext cx="12191999" cy="511894"/>
            <a:chOff x="0" y="4233486"/>
            <a:chExt cx="12191999" cy="511894"/>
          </a:xfrm>
        </p:grpSpPr>
        <p:sp>
          <p:nvSpPr>
            <p:cNvPr id="21" name="ïṣḷïḋê">
              <a:extLst>
                <a:ext uri="{FF2B5EF4-FFF2-40B4-BE49-F238E27FC236}">
                  <a16:creationId xmlns:a16="http://schemas.microsoft.com/office/drawing/2014/main" id="{4C5B2D9C-70F6-4E1D-B151-11D110AAF433}"/>
                </a:ext>
              </a:extLst>
            </p:cNvPr>
            <p:cNvSpPr/>
            <p:nvPr/>
          </p:nvSpPr>
          <p:spPr bwMode="auto">
            <a:xfrm>
              <a:off x="0" y="4245806"/>
              <a:ext cx="12191999" cy="499574"/>
            </a:xfrm>
            <a:prstGeom prst="rect">
              <a:avLst/>
            </a:prstGeom>
            <a:blipFill>
              <a:blip r:embed="rId2"/>
              <a:stretch>
                <a:fillRect t="-652562" b="-620207"/>
              </a:stretch>
            </a:blip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22" name="ïṧḻïďe">
              <a:extLst>
                <a:ext uri="{FF2B5EF4-FFF2-40B4-BE49-F238E27FC236}">
                  <a16:creationId xmlns:a16="http://schemas.microsoft.com/office/drawing/2014/main" id="{407B4DD4-8BDF-4170-937C-829BE3760292}"/>
                </a:ext>
              </a:extLst>
            </p:cNvPr>
            <p:cNvSpPr/>
            <p:nvPr/>
          </p:nvSpPr>
          <p:spPr bwMode="auto">
            <a:xfrm>
              <a:off x="669926" y="4233486"/>
              <a:ext cx="10833372" cy="499574"/>
            </a:xfrm>
            <a:prstGeom prst="rect">
              <a:avLst/>
            </a:prstGeom>
            <a:solidFill>
              <a:schemeClr val="tx1">
                <a:alpha val="70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</p:grpSp>
      <p:sp>
        <p:nvSpPr>
          <p:cNvPr id="20" name="ïṣľïḋê">
            <a:extLst>
              <a:ext uri="{FF2B5EF4-FFF2-40B4-BE49-F238E27FC236}">
                <a16:creationId xmlns:a16="http://schemas.microsoft.com/office/drawing/2014/main" id="{237179D1-441D-4D37-933C-6ED8183F04F0}"/>
              </a:ext>
            </a:extLst>
          </p:cNvPr>
          <p:cNvSpPr/>
          <p:nvPr/>
        </p:nvSpPr>
        <p:spPr bwMode="auto">
          <a:xfrm>
            <a:off x="5908304" y="4165600"/>
            <a:ext cx="356616" cy="374904"/>
          </a:xfrm>
          <a:custGeom>
            <a:avLst/>
            <a:gdLst>
              <a:gd name="connsiteX0" fmla="*/ 290910 w 605702"/>
              <a:gd name="connsiteY0" fmla="*/ 156336 h 604568"/>
              <a:gd name="connsiteX1" fmla="*/ 335849 w 605702"/>
              <a:gd name="connsiteY1" fmla="*/ 164992 h 604568"/>
              <a:gd name="connsiteX2" fmla="*/ 288310 w 605702"/>
              <a:gd name="connsiteY2" fmla="*/ 212456 h 604568"/>
              <a:gd name="connsiteX3" fmla="*/ 203632 w 605702"/>
              <a:gd name="connsiteY3" fmla="*/ 244717 h 604568"/>
              <a:gd name="connsiteX4" fmla="*/ 203632 w 605702"/>
              <a:gd name="connsiteY4" fmla="*/ 401388 h 604568"/>
              <a:gd name="connsiteX5" fmla="*/ 360547 w 605702"/>
              <a:gd name="connsiteY5" fmla="*/ 401388 h 604568"/>
              <a:gd name="connsiteX6" fmla="*/ 392859 w 605702"/>
              <a:gd name="connsiteY6" fmla="*/ 316749 h 604568"/>
              <a:gd name="connsiteX7" fmla="*/ 440397 w 605702"/>
              <a:gd name="connsiteY7" fmla="*/ 269284 h 604568"/>
              <a:gd name="connsiteX8" fmla="*/ 400287 w 605702"/>
              <a:gd name="connsiteY8" fmla="*/ 441065 h 604568"/>
              <a:gd name="connsiteX9" fmla="*/ 163892 w 605702"/>
              <a:gd name="connsiteY9" fmla="*/ 441065 h 604568"/>
              <a:gd name="connsiteX10" fmla="*/ 163892 w 605702"/>
              <a:gd name="connsiteY10" fmla="*/ 205040 h 604568"/>
              <a:gd name="connsiteX11" fmla="*/ 290910 w 605702"/>
              <a:gd name="connsiteY11" fmla="*/ 156336 h 604568"/>
              <a:gd name="connsiteX12" fmla="*/ 246542 w 605702"/>
              <a:gd name="connsiteY12" fmla="*/ 43775 h 604568"/>
              <a:gd name="connsiteX13" fmla="*/ 422196 w 605702"/>
              <a:gd name="connsiteY13" fmla="*/ 78723 h 604568"/>
              <a:gd name="connsiteX14" fmla="*/ 376794 w 605702"/>
              <a:gd name="connsiteY14" fmla="*/ 124054 h 604568"/>
              <a:gd name="connsiteX15" fmla="*/ 126109 w 605702"/>
              <a:gd name="connsiteY15" fmla="*/ 167345 h 604568"/>
              <a:gd name="connsiteX16" fmla="*/ 126109 w 605702"/>
              <a:gd name="connsiteY16" fmla="*/ 478820 h 604568"/>
              <a:gd name="connsiteX17" fmla="*/ 438073 w 605702"/>
              <a:gd name="connsiteY17" fmla="*/ 478820 h 604568"/>
              <a:gd name="connsiteX18" fmla="*/ 481432 w 605702"/>
              <a:gd name="connsiteY18" fmla="*/ 228527 h 604568"/>
              <a:gd name="connsiteX19" fmla="*/ 526741 w 605702"/>
              <a:gd name="connsiteY19" fmla="*/ 183011 h 604568"/>
              <a:gd name="connsiteX20" fmla="*/ 481432 w 605702"/>
              <a:gd name="connsiteY20" fmla="*/ 522111 h 604568"/>
              <a:gd name="connsiteX21" fmla="*/ 82657 w 605702"/>
              <a:gd name="connsiteY21" fmla="*/ 522111 h 604568"/>
              <a:gd name="connsiteX22" fmla="*/ 82657 w 605702"/>
              <a:gd name="connsiteY22" fmla="*/ 123961 h 604568"/>
              <a:gd name="connsiteX23" fmla="*/ 246542 w 605702"/>
              <a:gd name="connsiteY23" fmla="*/ 43775 h 604568"/>
              <a:gd name="connsiteX24" fmla="*/ 536061 w 605702"/>
              <a:gd name="connsiteY24" fmla="*/ 0 h 604568"/>
              <a:gd name="connsiteX25" fmla="*/ 544232 w 605702"/>
              <a:gd name="connsiteY25" fmla="*/ 61368 h 604568"/>
              <a:gd name="connsiteX26" fmla="*/ 605702 w 605702"/>
              <a:gd name="connsiteY26" fmla="*/ 69526 h 604568"/>
              <a:gd name="connsiteX27" fmla="*/ 524361 w 605702"/>
              <a:gd name="connsiteY27" fmla="*/ 150732 h 604568"/>
              <a:gd name="connsiteX28" fmla="*/ 498361 w 605702"/>
              <a:gd name="connsiteY28" fmla="*/ 147302 h 604568"/>
              <a:gd name="connsiteX29" fmla="*/ 337721 w 605702"/>
              <a:gd name="connsiteY29" fmla="*/ 307767 h 604568"/>
              <a:gd name="connsiteX30" fmla="*/ 339764 w 605702"/>
              <a:gd name="connsiteY30" fmla="*/ 323063 h 604568"/>
              <a:gd name="connsiteX31" fmla="*/ 282101 w 605702"/>
              <a:gd name="connsiteY31" fmla="*/ 380630 h 604568"/>
              <a:gd name="connsiteX32" fmla="*/ 224437 w 605702"/>
              <a:gd name="connsiteY32" fmla="*/ 323063 h 604568"/>
              <a:gd name="connsiteX33" fmla="*/ 282101 w 605702"/>
              <a:gd name="connsiteY33" fmla="*/ 265495 h 604568"/>
              <a:gd name="connsiteX34" fmla="*/ 297422 w 605702"/>
              <a:gd name="connsiteY34" fmla="*/ 267535 h 604568"/>
              <a:gd name="connsiteX35" fmla="*/ 458155 w 605702"/>
              <a:gd name="connsiteY35" fmla="*/ 107162 h 604568"/>
              <a:gd name="connsiteX36" fmla="*/ 454719 w 605702"/>
              <a:gd name="connsiteY36" fmla="*/ 81206 h 604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5702" h="604568">
                <a:moveTo>
                  <a:pt x="290910" y="156336"/>
                </a:moveTo>
                <a:cubicBezTo>
                  <a:pt x="306137" y="157147"/>
                  <a:pt x="321272" y="160032"/>
                  <a:pt x="335849" y="164992"/>
                </a:cubicBezTo>
                <a:lnTo>
                  <a:pt x="288310" y="212456"/>
                </a:lnTo>
                <a:cubicBezTo>
                  <a:pt x="257856" y="210695"/>
                  <a:pt x="226844" y="221449"/>
                  <a:pt x="203632" y="244717"/>
                </a:cubicBezTo>
                <a:cubicBezTo>
                  <a:pt x="160271" y="287918"/>
                  <a:pt x="160271" y="358187"/>
                  <a:pt x="203632" y="401388"/>
                </a:cubicBezTo>
                <a:cubicBezTo>
                  <a:pt x="246900" y="444680"/>
                  <a:pt x="317279" y="444680"/>
                  <a:pt x="360547" y="401388"/>
                </a:cubicBezTo>
                <a:cubicBezTo>
                  <a:pt x="383852" y="378211"/>
                  <a:pt x="394623" y="347156"/>
                  <a:pt x="392859" y="316749"/>
                </a:cubicBezTo>
                <a:lnTo>
                  <a:pt x="440397" y="269284"/>
                </a:lnTo>
                <a:cubicBezTo>
                  <a:pt x="460267" y="327595"/>
                  <a:pt x="446897" y="394620"/>
                  <a:pt x="400287" y="441065"/>
                </a:cubicBezTo>
                <a:cubicBezTo>
                  <a:pt x="335106" y="506236"/>
                  <a:pt x="229073" y="506236"/>
                  <a:pt x="163892" y="441065"/>
                </a:cubicBezTo>
                <a:cubicBezTo>
                  <a:pt x="98619" y="375987"/>
                  <a:pt x="98619" y="270118"/>
                  <a:pt x="163892" y="205040"/>
                </a:cubicBezTo>
                <a:cubicBezTo>
                  <a:pt x="198711" y="170137"/>
                  <a:pt x="245228" y="153902"/>
                  <a:pt x="290910" y="156336"/>
                </a:cubicBezTo>
                <a:close/>
                <a:moveTo>
                  <a:pt x="246542" y="43775"/>
                </a:moveTo>
                <a:cubicBezTo>
                  <a:pt x="306463" y="36243"/>
                  <a:pt x="368345" y="47900"/>
                  <a:pt x="422196" y="78723"/>
                </a:cubicBezTo>
                <a:lnTo>
                  <a:pt x="376794" y="124054"/>
                </a:lnTo>
                <a:cubicBezTo>
                  <a:pt x="294811" y="85305"/>
                  <a:pt x="193980" y="99581"/>
                  <a:pt x="126109" y="167345"/>
                </a:cubicBezTo>
                <a:cubicBezTo>
                  <a:pt x="39948" y="253371"/>
                  <a:pt x="39948" y="392793"/>
                  <a:pt x="126109" y="478820"/>
                </a:cubicBezTo>
                <a:cubicBezTo>
                  <a:pt x="212271" y="564846"/>
                  <a:pt x="351912" y="564846"/>
                  <a:pt x="438073" y="478820"/>
                </a:cubicBezTo>
                <a:cubicBezTo>
                  <a:pt x="505944" y="411055"/>
                  <a:pt x="520428" y="310382"/>
                  <a:pt x="481432" y="228527"/>
                </a:cubicBezTo>
                <a:lnTo>
                  <a:pt x="526741" y="183011"/>
                </a:lnTo>
                <a:cubicBezTo>
                  <a:pt x="588484" y="290544"/>
                  <a:pt x="573350" y="430244"/>
                  <a:pt x="481432" y="522111"/>
                </a:cubicBezTo>
                <a:cubicBezTo>
                  <a:pt x="371316" y="632054"/>
                  <a:pt x="192866" y="632054"/>
                  <a:pt x="82657" y="522111"/>
                </a:cubicBezTo>
                <a:cubicBezTo>
                  <a:pt x="-27552" y="412168"/>
                  <a:pt x="-27552" y="233997"/>
                  <a:pt x="82657" y="123961"/>
                </a:cubicBezTo>
                <a:cubicBezTo>
                  <a:pt x="128662" y="78028"/>
                  <a:pt x="186622" y="51307"/>
                  <a:pt x="246542" y="43775"/>
                </a:cubicBezTo>
                <a:close/>
                <a:moveTo>
                  <a:pt x="536061" y="0"/>
                </a:moveTo>
                <a:lnTo>
                  <a:pt x="544232" y="61368"/>
                </a:lnTo>
                <a:lnTo>
                  <a:pt x="605702" y="69526"/>
                </a:lnTo>
                <a:lnTo>
                  <a:pt x="524361" y="150732"/>
                </a:lnTo>
                <a:lnTo>
                  <a:pt x="498361" y="147302"/>
                </a:lnTo>
                <a:lnTo>
                  <a:pt x="337721" y="307767"/>
                </a:lnTo>
                <a:cubicBezTo>
                  <a:pt x="339021" y="312588"/>
                  <a:pt x="339764" y="317779"/>
                  <a:pt x="339764" y="323063"/>
                </a:cubicBezTo>
                <a:cubicBezTo>
                  <a:pt x="339764" y="354859"/>
                  <a:pt x="313950" y="380630"/>
                  <a:pt x="282101" y="380630"/>
                </a:cubicBezTo>
                <a:cubicBezTo>
                  <a:pt x="250251" y="380630"/>
                  <a:pt x="224437" y="354859"/>
                  <a:pt x="224437" y="323063"/>
                </a:cubicBezTo>
                <a:cubicBezTo>
                  <a:pt x="224437" y="291266"/>
                  <a:pt x="250251" y="265495"/>
                  <a:pt x="282101" y="265495"/>
                </a:cubicBezTo>
                <a:cubicBezTo>
                  <a:pt x="287393" y="265495"/>
                  <a:pt x="292500" y="266237"/>
                  <a:pt x="297422" y="267535"/>
                </a:cubicBezTo>
                <a:lnTo>
                  <a:pt x="458155" y="107162"/>
                </a:lnTo>
                <a:lnTo>
                  <a:pt x="454719" y="81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grpSp>
        <p:nvGrpSpPr>
          <p:cNvPr id="12" name="îṩlîḓê">
            <a:extLst>
              <a:ext uri="{FF2B5EF4-FFF2-40B4-BE49-F238E27FC236}">
                <a16:creationId xmlns:a16="http://schemas.microsoft.com/office/drawing/2014/main" id="{20427293-EF90-415D-A934-D2B24EF92697}"/>
              </a:ext>
            </a:extLst>
          </p:cNvPr>
          <p:cNvGrpSpPr/>
          <p:nvPr/>
        </p:nvGrpSpPr>
        <p:grpSpPr>
          <a:xfrm>
            <a:off x="4495883" y="4828637"/>
            <a:ext cx="3325501" cy="1094011"/>
            <a:chOff x="660400" y="1780903"/>
            <a:chExt cx="4560221" cy="1094011"/>
          </a:xfrm>
        </p:grpSpPr>
        <p:sp>
          <p:nvSpPr>
            <p:cNvPr id="17" name="ïSļiďé">
              <a:extLst>
                <a:ext uri="{FF2B5EF4-FFF2-40B4-BE49-F238E27FC236}">
                  <a16:creationId xmlns:a16="http://schemas.microsoft.com/office/drawing/2014/main" id="{37713BD4-FE0B-4842-86CE-BBEDDB28754C}"/>
                </a:ext>
              </a:extLst>
            </p:cNvPr>
            <p:cNvSpPr/>
            <p:nvPr/>
          </p:nvSpPr>
          <p:spPr bwMode="auto">
            <a:xfrm>
              <a:off x="660400" y="2193783"/>
              <a:ext cx="4560221" cy="681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ct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600" dirty="0"/>
                <a:t>包括人像分割、添加纯色背景、指定照片尺寸、美颜人像等功能</a:t>
              </a:r>
              <a:endParaRPr lang="en-US" altLang="zh-CN" sz="1600" dirty="0"/>
            </a:p>
          </p:txBody>
        </p:sp>
        <p:sp>
          <p:nvSpPr>
            <p:cNvPr id="18" name="îšliḑe">
              <a:extLst>
                <a:ext uri="{FF2B5EF4-FFF2-40B4-BE49-F238E27FC236}">
                  <a16:creationId xmlns:a16="http://schemas.microsoft.com/office/drawing/2014/main" id="{1F4F4DA1-935B-4B9C-8CF1-6154E6F90CF0}"/>
                </a:ext>
              </a:extLst>
            </p:cNvPr>
            <p:cNvSpPr txBox="1"/>
            <p:nvPr/>
          </p:nvSpPr>
          <p:spPr bwMode="auto">
            <a:xfrm>
              <a:off x="660400" y="1780903"/>
              <a:ext cx="438844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400" b="1" dirty="0"/>
                <a:t>制作证件照</a:t>
              </a:r>
              <a:endParaRPr lang="en-US" altLang="zh-CN" sz="2400" b="1" dirty="0"/>
            </a:p>
          </p:txBody>
        </p:sp>
      </p:grp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362FCF51-0510-457E-9068-78F9F2F34878}"/>
              </a:ext>
            </a:extLst>
          </p:cNvPr>
          <p:cNvCxnSpPr/>
          <p:nvPr/>
        </p:nvCxnSpPr>
        <p:spPr>
          <a:xfrm>
            <a:off x="4208063" y="4622197"/>
            <a:ext cx="0" cy="137628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A750C39-9897-4B96-A56E-C7B29FC3E380}"/>
              </a:ext>
            </a:extLst>
          </p:cNvPr>
          <p:cNvCxnSpPr/>
          <p:nvPr/>
        </p:nvCxnSpPr>
        <p:spPr>
          <a:xfrm>
            <a:off x="8021768" y="4622197"/>
            <a:ext cx="0" cy="137628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í$1íḋê">
            <a:extLst>
              <a:ext uri="{FF2B5EF4-FFF2-40B4-BE49-F238E27FC236}">
                <a16:creationId xmlns:a16="http://schemas.microsoft.com/office/drawing/2014/main" id="{47F87997-74FA-4B79-BA01-8E1319A822A9}"/>
              </a:ext>
            </a:extLst>
          </p:cNvPr>
          <p:cNvSpPr/>
          <p:nvPr/>
        </p:nvSpPr>
        <p:spPr bwMode="auto">
          <a:xfrm>
            <a:off x="3401462" y="4165600"/>
            <a:ext cx="373860" cy="359662"/>
          </a:xfrm>
          <a:custGeom>
            <a:avLst/>
            <a:gdLst>
              <a:gd name="connsiteX0" fmla="*/ 195114 w 608814"/>
              <a:gd name="connsiteY0" fmla="*/ 351627 h 585693"/>
              <a:gd name="connsiteX1" fmla="*/ 258290 w 608814"/>
              <a:gd name="connsiteY1" fmla="*/ 351627 h 585693"/>
              <a:gd name="connsiteX2" fmla="*/ 282731 w 608814"/>
              <a:gd name="connsiteY2" fmla="*/ 376018 h 585693"/>
              <a:gd name="connsiteX3" fmla="*/ 282731 w 608814"/>
              <a:gd name="connsiteY3" fmla="*/ 561210 h 585693"/>
              <a:gd name="connsiteX4" fmla="*/ 258290 w 608814"/>
              <a:gd name="connsiteY4" fmla="*/ 585693 h 585693"/>
              <a:gd name="connsiteX5" fmla="*/ 195114 w 608814"/>
              <a:gd name="connsiteY5" fmla="*/ 585693 h 585693"/>
              <a:gd name="connsiteX6" fmla="*/ 170673 w 608814"/>
              <a:gd name="connsiteY6" fmla="*/ 561210 h 585693"/>
              <a:gd name="connsiteX7" fmla="*/ 170673 w 608814"/>
              <a:gd name="connsiteY7" fmla="*/ 376018 h 585693"/>
              <a:gd name="connsiteX8" fmla="*/ 195114 w 608814"/>
              <a:gd name="connsiteY8" fmla="*/ 351627 h 585693"/>
              <a:gd name="connsiteX9" fmla="*/ 358100 w 608814"/>
              <a:gd name="connsiteY9" fmla="*/ 249872 h 585693"/>
              <a:gd name="connsiteX10" fmla="*/ 421316 w 608814"/>
              <a:gd name="connsiteY10" fmla="*/ 249872 h 585693"/>
              <a:gd name="connsiteX11" fmla="*/ 445737 w 608814"/>
              <a:gd name="connsiteY11" fmla="*/ 274267 h 585693"/>
              <a:gd name="connsiteX12" fmla="*/ 445737 w 608814"/>
              <a:gd name="connsiteY12" fmla="*/ 561206 h 585693"/>
              <a:gd name="connsiteX13" fmla="*/ 421316 w 608814"/>
              <a:gd name="connsiteY13" fmla="*/ 585693 h 585693"/>
              <a:gd name="connsiteX14" fmla="*/ 358100 w 608814"/>
              <a:gd name="connsiteY14" fmla="*/ 585693 h 585693"/>
              <a:gd name="connsiteX15" fmla="*/ 333679 w 608814"/>
              <a:gd name="connsiteY15" fmla="*/ 561206 h 585693"/>
              <a:gd name="connsiteX16" fmla="*/ 333679 w 608814"/>
              <a:gd name="connsiteY16" fmla="*/ 274267 h 585693"/>
              <a:gd name="connsiteX17" fmla="*/ 358100 w 608814"/>
              <a:gd name="connsiteY17" fmla="*/ 249872 h 585693"/>
              <a:gd name="connsiteX18" fmla="*/ 140260 w 608814"/>
              <a:gd name="connsiteY18" fmla="*/ 224680 h 585693"/>
              <a:gd name="connsiteX19" fmla="*/ 191844 w 608814"/>
              <a:gd name="connsiteY19" fmla="*/ 276122 h 585693"/>
              <a:gd name="connsiteX20" fmla="*/ 140260 w 608814"/>
              <a:gd name="connsiteY20" fmla="*/ 327564 h 585693"/>
              <a:gd name="connsiteX21" fmla="*/ 88676 w 608814"/>
              <a:gd name="connsiteY21" fmla="*/ 276122 h 585693"/>
              <a:gd name="connsiteX22" fmla="*/ 140260 w 608814"/>
              <a:gd name="connsiteY22" fmla="*/ 224680 h 585693"/>
              <a:gd name="connsiteX23" fmla="*/ 521177 w 608814"/>
              <a:gd name="connsiteY23" fmla="*/ 148117 h 585693"/>
              <a:gd name="connsiteX24" fmla="*/ 584301 w 608814"/>
              <a:gd name="connsiteY24" fmla="*/ 148117 h 585693"/>
              <a:gd name="connsiteX25" fmla="*/ 608814 w 608814"/>
              <a:gd name="connsiteY25" fmla="*/ 172601 h 585693"/>
              <a:gd name="connsiteX26" fmla="*/ 608814 w 608814"/>
              <a:gd name="connsiteY26" fmla="*/ 561209 h 585693"/>
              <a:gd name="connsiteX27" fmla="*/ 584301 w 608814"/>
              <a:gd name="connsiteY27" fmla="*/ 585693 h 585693"/>
              <a:gd name="connsiteX28" fmla="*/ 521177 w 608814"/>
              <a:gd name="connsiteY28" fmla="*/ 585693 h 585693"/>
              <a:gd name="connsiteX29" fmla="*/ 496756 w 608814"/>
              <a:gd name="connsiteY29" fmla="*/ 561209 h 585693"/>
              <a:gd name="connsiteX30" fmla="*/ 496756 w 608814"/>
              <a:gd name="connsiteY30" fmla="*/ 172601 h 585693"/>
              <a:gd name="connsiteX31" fmla="*/ 521177 w 608814"/>
              <a:gd name="connsiteY31" fmla="*/ 148117 h 585693"/>
              <a:gd name="connsiteX32" fmla="*/ 116229 w 608814"/>
              <a:gd name="connsiteY32" fmla="*/ 131322 h 585693"/>
              <a:gd name="connsiteX33" fmla="*/ 164246 w 608814"/>
              <a:gd name="connsiteY33" fmla="*/ 131322 h 585693"/>
              <a:gd name="connsiteX34" fmla="*/ 184061 w 608814"/>
              <a:gd name="connsiteY34" fmla="*/ 151113 h 585693"/>
              <a:gd name="connsiteX35" fmla="*/ 184061 w 608814"/>
              <a:gd name="connsiteY35" fmla="*/ 171457 h 585693"/>
              <a:gd name="connsiteX36" fmla="*/ 208669 w 608814"/>
              <a:gd name="connsiteY36" fmla="*/ 186094 h 585693"/>
              <a:gd name="connsiteX37" fmla="*/ 226641 w 608814"/>
              <a:gd name="connsiteY37" fmla="*/ 175692 h 585693"/>
              <a:gd name="connsiteX38" fmla="*/ 253737 w 608814"/>
              <a:gd name="connsiteY38" fmla="*/ 182964 h 585693"/>
              <a:gd name="connsiteX39" fmla="*/ 277792 w 608814"/>
              <a:gd name="connsiteY39" fmla="*/ 224572 h 585693"/>
              <a:gd name="connsiteX40" fmla="*/ 279727 w 608814"/>
              <a:gd name="connsiteY40" fmla="*/ 239577 h 585693"/>
              <a:gd name="connsiteX41" fmla="*/ 270511 w 608814"/>
              <a:gd name="connsiteY41" fmla="*/ 251544 h 585693"/>
              <a:gd name="connsiteX42" fmla="*/ 252355 w 608814"/>
              <a:gd name="connsiteY42" fmla="*/ 262038 h 585693"/>
              <a:gd name="connsiteX43" fmla="*/ 253829 w 608814"/>
              <a:gd name="connsiteY43" fmla="*/ 276122 h 585693"/>
              <a:gd name="connsiteX44" fmla="*/ 252355 w 608814"/>
              <a:gd name="connsiteY44" fmla="*/ 290206 h 585693"/>
              <a:gd name="connsiteX45" fmla="*/ 270511 w 608814"/>
              <a:gd name="connsiteY45" fmla="*/ 300700 h 585693"/>
              <a:gd name="connsiteX46" fmla="*/ 278714 w 608814"/>
              <a:gd name="connsiteY46" fmla="*/ 325094 h 585693"/>
              <a:gd name="connsiteX47" fmla="*/ 258253 w 608814"/>
              <a:gd name="connsiteY47" fmla="*/ 321136 h 585693"/>
              <a:gd name="connsiteX48" fmla="*/ 195858 w 608814"/>
              <a:gd name="connsiteY48" fmla="*/ 321136 h 585693"/>
              <a:gd name="connsiteX49" fmla="*/ 212171 w 608814"/>
              <a:gd name="connsiteY49" fmla="*/ 276122 h 585693"/>
              <a:gd name="connsiteX50" fmla="*/ 140191 w 608814"/>
              <a:gd name="connsiteY50" fmla="*/ 204320 h 585693"/>
              <a:gd name="connsiteX51" fmla="*/ 68304 w 608814"/>
              <a:gd name="connsiteY51" fmla="*/ 276122 h 585693"/>
              <a:gd name="connsiteX52" fmla="*/ 140191 w 608814"/>
              <a:gd name="connsiteY52" fmla="*/ 348016 h 585693"/>
              <a:gd name="connsiteX53" fmla="*/ 148486 w 608814"/>
              <a:gd name="connsiteY53" fmla="*/ 347095 h 585693"/>
              <a:gd name="connsiteX54" fmla="*/ 140099 w 608814"/>
              <a:gd name="connsiteY54" fmla="*/ 376000 h 585693"/>
              <a:gd name="connsiteX55" fmla="*/ 140099 w 608814"/>
              <a:gd name="connsiteY55" fmla="*/ 420922 h 585693"/>
              <a:gd name="connsiteX56" fmla="*/ 116229 w 608814"/>
              <a:gd name="connsiteY56" fmla="*/ 420922 h 585693"/>
              <a:gd name="connsiteX57" fmla="*/ 96413 w 608814"/>
              <a:gd name="connsiteY57" fmla="*/ 401131 h 585693"/>
              <a:gd name="connsiteX58" fmla="*/ 96413 w 608814"/>
              <a:gd name="connsiteY58" fmla="*/ 380787 h 585693"/>
              <a:gd name="connsiteX59" fmla="*/ 71806 w 608814"/>
              <a:gd name="connsiteY59" fmla="*/ 366150 h 585693"/>
              <a:gd name="connsiteX60" fmla="*/ 53742 w 608814"/>
              <a:gd name="connsiteY60" fmla="*/ 376552 h 585693"/>
              <a:gd name="connsiteX61" fmla="*/ 38719 w 608814"/>
              <a:gd name="connsiteY61" fmla="*/ 378577 h 585693"/>
              <a:gd name="connsiteX62" fmla="*/ 26738 w 608814"/>
              <a:gd name="connsiteY62" fmla="*/ 369372 h 585693"/>
              <a:gd name="connsiteX63" fmla="*/ 2683 w 608814"/>
              <a:gd name="connsiteY63" fmla="*/ 327764 h 585693"/>
              <a:gd name="connsiteX64" fmla="*/ 9872 w 608814"/>
              <a:gd name="connsiteY64" fmla="*/ 300700 h 585693"/>
              <a:gd name="connsiteX65" fmla="*/ 28120 w 608814"/>
              <a:gd name="connsiteY65" fmla="*/ 290206 h 585693"/>
              <a:gd name="connsiteX66" fmla="*/ 26645 w 608814"/>
              <a:gd name="connsiteY66" fmla="*/ 276122 h 585693"/>
              <a:gd name="connsiteX67" fmla="*/ 28120 w 608814"/>
              <a:gd name="connsiteY67" fmla="*/ 262038 h 585693"/>
              <a:gd name="connsiteX68" fmla="*/ 9872 w 608814"/>
              <a:gd name="connsiteY68" fmla="*/ 251544 h 585693"/>
              <a:gd name="connsiteX69" fmla="*/ 2683 w 608814"/>
              <a:gd name="connsiteY69" fmla="*/ 224572 h 585693"/>
              <a:gd name="connsiteX70" fmla="*/ 26738 w 608814"/>
              <a:gd name="connsiteY70" fmla="*/ 182964 h 585693"/>
              <a:gd name="connsiteX71" fmla="*/ 38719 w 608814"/>
              <a:gd name="connsiteY71" fmla="*/ 173759 h 585693"/>
              <a:gd name="connsiteX72" fmla="*/ 53742 w 608814"/>
              <a:gd name="connsiteY72" fmla="*/ 175692 h 585693"/>
              <a:gd name="connsiteX73" fmla="*/ 71806 w 608814"/>
              <a:gd name="connsiteY73" fmla="*/ 186094 h 585693"/>
              <a:gd name="connsiteX74" fmla="*/ 96413 w 608814"/>
              <a:gd name="connsiteY74" fmla="*/ 171457 h 585693"/>
              <a:gd name="connsiteX75" fmla="*/ 96413 w 608814"/>
              <a:gd name="connsiteY75" fmla="*/ 151113 h 585693"/>
              <a:gd name="connsiteX76" fmla="*/ 116229 w 608814"/>
              <a:gd name="connsiteY76" fmla="*/ 131322 h 585693"/>
              <a:gd name="connsiteX77" fmla="*/ 445756 w 608814"/>
              <a:gd name="connsiteY77" fmla="*/ 83476 h 585693"/>
              <a:gd name="connsiteX78" fmla="*/ 414140 w 608814"/>
              <a:gd name="connsiteY78" fmla="*/ 115044 h 585693"/>
              <a:gd name="connsiteX79" fmla="*/ 445756 w 608814"/>
              <a:gd name="connsiteY79" fmla="*/ 146520 h 585693"/>
              <a:gd name="connsiteX80" fmla="*/ 477371 w 608814"/>
              <a:gd name="connsiteY80" fmla="*/ 115044 h 585693"/>
              <a:gd name="connsiteX81" fmla="*/ 445756 w 608814"/>
              <a:gd name="connsiteY81" fmla="*/ 83476 h 585693"/>
              <a:gd name="connsiteX82" fmla="*/ 426676 w 608814"/>
              <a:gd name="connsiteY82" fmla="*/ 0 h 585693"/>
              <a:gd name="connsiteX83" fmla="*/ 464835 w 608814"/>
              <a:gd name="connsiteY83" fmla="*/ 0 h 585693"/>
              <a:gd name="connsiteX84" fmla="*/ 480597 w 608814"/>
              <a:gd name="connsiteY84" fmla="*/ 15738 h 585693"/>
              <a:gd name="connsiteX85" fmla="*/ 480597 w 608814"/>
              <a:gd name="connsiteY85" fmla="*/ 31936 h 585693"/>
              <a:gd name="connsiteX86" fmla="*/ 500138 w 608814"/>
              <a:gd name="connsiteY86" fmla="*/ 43533 h 585693"/>
              <a:gd name="connsiteX87" fmla="*/ 514425 w 608814"/>
              <a:gd name="connsiteY87" fmla="*/ 35249 h 585693"/>
              <a:gd name="connsiteX88" fmla="*/ 535901 w 608814"/>
              <a:gd name="connsiteY88" fmla="*/ 40956 h 585693"/>
              <a:gd name="connsiteX89" fmla="*/ 554981 w 608814"/>
              <a:gd name="connsiteY89" fmla="*/ 73996 h 585693"/>
              <a:gd name="connsiteX90" fmla="*/ 556640 w 608814"/>
              <a:gd name="connsiteY90" fmla="*/ 85961 h 585693"/>
              <a:gd name="connsiteX91" fmla="*/ 549266 w 608814"/>
              <a:gd name="connsiteY91" fmla="*/ 95440 h 585693"/>
              <a:gd name="connsiteX92" fmla="*/ 534887 w 608814"/>
              <a:gd name="connsiteY92" fmla="*/ 103815 h 585693"/>
              <a:gd name="connsiteX93" fmla="*/ 535993 w 608814"/>
              <a:gd name="connsiteY93" fmla="*/ 115044 h 585693"/>
              <a:gd name="connsiteX94" fmla="*/ 535717 w 608814"/>
              <a:gd name="connsiteY94" fmla="*/ 117621 h 585693"/>
              <a:gd name="connsiteX95" fmla="*/ 521153 w 608814"/>
              <a:gd name="connsiteY95" fmla="*/ 117621 h 585693"/>
              <a:gd name="connsiteX96" fmla="*/ 466126 w 608814"/>
              <a:gd name="connsiteY96" fmla="*/ 172565 h 585693"/>
              <a:gd name="connsiteX97" fmla="*/ 466126 w 608814"/>
              <a:gd name="connsiteY97" fmla="*/ 229719 h 585693"/>
              <a:gd name="connsiteX98" fmla="*/ 466126 w 608814"/>
              <a:gd name="connsiteY98" fmla="*/ 242604 h 585693"/>
              <a:gd name="connsiteX99" fmla="*/ 453590 w 608814"/>
              <a:gd name="connsiteY99" fmla="*/ 229995 h 585693"/>
              <a:gd name="connsiteX100" fmla="*/ 421330 w 608814"/>
              <a:gd name="connsiteY100" fmla="*/ 219319 h 585693"/>
              <a:gd name="connsiteX101" fmla="*/ 411928 w 608814"/>
              <a:gd name="connsiteY101" fmla="*/ 219319 h 585693"/>
              <a:gd name="connsiteX102" fmla="*/ 410914 w 608814"/>
              <a:gd name="connsiteY102" fmla="*/ 214257 h 585693"/>
              <a:gd name="connsiteX103" fmla="*/ 410914 w 608814"/>
              <a:gd name="connsiteY103" fmla="*/ 198059 h 585693"/>
              <a:gd name="connsiteX104" fmla="*/ 391373 w 608814"/>
              <a:gd name="connsiteY104" fmla="*/ 186463 h 585693"/>
              <a:gd name="connsiteX105" fmla="*/ 377086 w 608814"/>
              <a:gd name="connsiteY105" fmla="*/ 194746 h 585693"/>
              <a:gd name="connsiteX106" fmla="*/ 365104 w 608814"/>
              <a:gd name="connsiteY106" fmla="*/ 196310 h 585693"/>
              <a:gd name="connsiteX107" fmla="*/ 355610 w 608814"/>
              <a:gd name="connsiteY107" fmla="*/ 189040 h 585693"/>
              <a:gd name="connsiteX108" fmla="*/ 336530 w 608814"/>
              <a:gd name="connsiteY108" fmla="*/ 155999 h 585693"/>
              <a:gd name="connsiteX109" fmla="*/ 342245 w 608814"/>
              <a:gd name="connsiteY109" fmla="*/ 134463 h 585693"/>
              <a:gd name="connsiteX110" fmla="*/ 356716 w 608814"/>
              <a:gd name="connsiteY110" fmla="*/ 126180 h 585693"/>
              <a:gd name="connsiteX111" fmla="*/ 355518 w 608814"/>
              <a:gd name="connsiteY111" fmla="*/ 115044 h 585693"/>
              <a:gd name="connsiteX112" fmla="*/ 356716 w 608814"/>
              <a:gd name="connsiteY112" fmla="*/ 103815 h 585693"/>
              <a:gd name="connsiteX113" fmla="*/ 342245 w 608814"/>
              <a:gd name="connsiteY113" fmla="*/ 95440 h 585693"/>
              <a:gd name="connsiteX114" fmla="*/ 336530 w 608814"/>
              <a:gd name="connsiteY114" fmla="*/ 73996 h 585693"/>
              <a:gd name="connsiteX115" fmla="*/ 355610 w 608814"/>
              <a:gd name="connsiteY115" fmla="*/ 40956 h 585693"/>
              <a:gd name="connsiteX116" fmla="*/ 365104 w 608814"/>
              <a:gd name="connsiteY116" fmla="*/ 33685 h 585693"/>
              <a:gd name="connsiteX117" fmla="*/ 377086 w 608814"/>
              <a:gd name="connsiteY117" fmla="*/ 35249 h 585693"/>
              <a:gd name="connsiteX118" fmla="*/ 391373 w 608814"/>
              <a:gd name="connsiteY118" fmla="*/ 43533 h 585693"/>
              <a:gd name="connsiteX119" fmla="*/ 410914 w 608814"/>
              <a:gd name="connsiteY119" fmla="*/ 31936 h 585693"/>
              <a:gd name="connsiteX120" fmla="*/ 410914 w 608814"/>
              <a:gd name="connsiteY120" fmla="*/ 15738 h 585693"/>
              <a:gd name="connsiteX121" fmla="*/ 426676 w 608814"/>
              <a:gd name="connsiteY121" fmla="*/ 0 h 58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08814" h="585693">
                <a:moveTo>
                  <a:pt x="195114" y="351627"/>
                </a:moveTo>
                <a:lnTo>
                  <a:pt x="258290" y="351627"/>
                </a:lnTo>
                <a:cubicBezTo>
                  <a:pt x="271848" y="351627"/>
                  <a:pt x="282731" y="362580"/>
                  <a:pt x="282731" y="376018"/>
                </a:cubicBezTo>
                <a:lnTo>
                  <a:pt x="282731" y="561210"/>
                </a:lnTo>
                <a:cubicBezTo>
                  <a:pt x="282731" y="574740"/>
                  <a:pt x="271848" y="585693"/>
                  <a:pt x="258290" y="585693"/>
                </a:cubicBezTo>
                <a:lnTo>
                  <a:pt x="195114" y="585693"/>
                </a:lnTo>
                <a:cubicBezTo>
                  <a:pt x="181556" y="585693"/>
                  <a:pt x="170673" y="574740"/>
                  <a:pt x="170673" y="561210"/>
                </a:cubicBezTo>
                <a:lnTo>
                  <a:pt x="170673" y="376018"/>
                </a:lnTo>
                <a:cubicBezTo>
                  <a:pt x="170673" y="362580"/>
                  <a:pt x="181556" y="351627"/>
                  <a:pt x="195114" y="351627"/>
                </a:cubicBezTo>
                <a:close/>
                <a:moveTo>
                  <a:pt x="358100" y="249872"/>
                </a:moveTo>
                <a:lnTo>
                  <a:pt x="421316" y="249872"/>
                </a:lnTo>
                <a:cubicBezTo>
                  <a:pt x="434771" y="249872"/>
                  <a:pt x="445737" y="260735"/>
                  <a:pt x="445737" y="274267"/>
                </a:cubicBezTo>
                <a:lnTo>
                  <a:pt x="445737" y="561206"/>
                </a:lnTo>
                <a:cubicBezTo>
                  <a:pt x="445737" y="574738"/>
                  <a:pt x="434771" y="585693"/>
                  <a:pt x="421316" y="585693"/>
                </a:cubicBezTo>
                <a:lnTo>
                  <a:pt x="358100" y="585693"/>
                </a:lnTo>
                <a:cubicBezTo>
                  <a:pt x="344645" y="585693"/>
                  <a:pt x="333679" y="574738"/>
                  <a:pt x="333679" y="561206"/>
                </a:cubicBezTo>
                <a:lnTo>
                  <a:pt x="333679" y="274267"/>
                </a:lnTo>
                <a:cubicBezTo>
                  <a:pt x="333679" y="260735"/>
                  <a:pt x="344645" y="249872"/>
                  <a:pt x="358100" y="249872"/>
                </a:cubicBezTo>
                <a:close/>
                <a:moveTo>
                  <a:pt x="140260" y="224680"/>
                </a:moveTo>
                <a:cubicBezTo>
                  <a:pt x="168749" y="224680"/>
                  <a:pt x="191844" y="247711"/>
                  <a:pt x="191844" y="276122"/>
                </a:cubicBezTo>
                <a:cubicBezTo>
                  <a:pt x="191844" y="304533"/>
                  <a:pt x="168749" y="327564"/>
                  <a:pt x="140260" y="327564"/>
                </a:cubicBezTo>
                <a:cubicBezTo>
                  <a:pt x="111771" y="327564"/>
                  <a:pt x="88676" y="304533"/>
                  <a:pt x="88676" y="276122"/>
                </a:cubicBezTo>
                <a:cubicBezTo>
                  <a:pt x="88676" y="247711"/>
                  <a:pt x="111771" y="224680"/>
                  <a:pt x="140260" y="224680"/>
                </a:cubicBezTo>
                <a:close/>
                <a:moveTo>
                  <a:pt x="521177" y="148117"/>
                </a:moveTo>
                <a:lnTo>
                  <a:pt x="584301" y="148117"/>
                </a:lnTo>
                <a:cubicBezTo>
                  <a:pt x="597848" y="148117"/>
                  <a:pt x="608814" y="159070"/>
                  <a:pt x="608814" y="172601"/>
                </a:cubicBezTo>
                <a:lnTo>
                  <a:pt x="608814" y="561209"/>
                </a:lnTo>
                <a:cubicBezTo>
                  <a:pt x="608814" y="574740"/>
                  <a:pt x="597848" y="585693"/>
                  <a:pt x="584301" y="585693"/>
                </a:cubicBezTo>
                <a:lnTo>
                  <a:pt x="521177" y="585693"/>
                </a:lnTo>
                <a:cubicBezTo>
                  <a:pt x="507722" y="585693"/>
                  <a:pt x="496756" y="574740"/>
                  <a:pt x="496756" y="561209"/>
                </a:cubicBezTo>
                <a:lnTo>
                  <a:pt x="496756" y="172601"/>
                </a:lnTo>
                <a:cubicBezTo>
                  <a:pt x="496756" y="159070"/>
                  <a:pt x="507722" y="148117"/>
                  <a:pt x="521177" y="148117"/>
                </a:cubicBezTo>
                <a:close/>
                <a:moveTo>
                  <a:pt x="116229" y="131322"/>
                </a:moveTo>
                <a:lnTo>
                  <a:pt x="164246" y="131322"/>
                </a:lnTo>
                <a:cubicBezTo>
                  <a:pt x="175214" y="131322"/>
                  <a:pt x="184061" y="140159"/>
                  <a:pt x="184061" y="151113"/>
                </a:cubicBezTo>
                <a:lnTo>
                  <a:pt x="184061" y="171457"/>
                </a:lnTo>
                <a:cubicBezTo>
                  <a:pt x="193001" y="175231"/>
                  <a:pt x="201019" y="180386"/>
                  <a:pt x="208669" y="186094"/>
                </a:cubicBezTo>
                <a:lnTo>
                  <a:pt x="226641" y="175692"/>
                </a:lnTo>
                <a:cubicBezTo>
                  <a:pt x="236134" y="170261"/>
                  <a:pt x="248300" y="173482"/>
                  <a:pt x="253737" y="182964"/>
                </a:cubicBezTo>
                <a:lnTo>
                  <a:pt x="277792" y="224572"/>
                </a:lnTo>
                <a:cubicBezTo>
                  <a:pt x="280465" y="229083"/>
                  <a:pt x="281110" y="234514"/>
                  <a:pt x="279727" y="239577"/>
                </a:cubicBezTo>
                <a:cubicBezTo>
                  <a:pt x="278437" y="244640"/>
                  <a:pt x="275119" y="248966"/>
                  <a:pt x="270511" y="251544"/>
                </a:cubicBezTo>
                <a:lnTo>
                  <a:pt x="252355" y="262038"/>
                </a:lnTo>
                <a:cubicBezTo>
                  <a:pt x="253000" y="266733"/>
                  <a:pt x="253829" y="271335"/>
                  <a:pt x="253829" y="276122"/>
                </a:cubicBezTo>
                <a:cubicBezTo>
                  <a:pt x="253829" y="281001"/>
                  <a:pt x="253000" y="285604"/>
                  <a:pt x="252355" y="290206"/>
                </a:cubicBezTo>
                <a:lnTo>
                  <a:pt x="270511" y="300700"/>
                </a:lnTo>
                <a:cubicBezTo>
                  <a:pt x="279174" y="305671"/>
                  <a:pt x="282308" y="316165"/>
                  <a:pt x="278714" y="325094"/>
                </a:cubicBezTo>
                <a:cubicBezTo>
                  <a:pt x="272354" y="322609"/>
                  <a:pt x="265442" y="321136"/>
                  <a:pt x="258253" y="321136"/>
                </a:cubicBezTo>
                <a:lnTo>
                  <a:pt x="195858" y="321136"/>
                </a:lnTo>
                <a:cubicBezTo>
                  <a:pt x="205904" y="308709"/>
                  <a:pt x="212171" y="293244"/>
                  <a:pt x="212171" y="276122"/>
                </a:cubicBezTo>
                <a:cubicBezTo>
                  <a:pt x="212171" y="236539"/>
                  <a:pt x="179914" y="204320"/>
                  <a:pt x="140191" y="204320"/>
                </a:cubicBezTo>
                <a:cubicBezTo>
                  <a:pt x="100561" y="204320"/>
                  <a:pt x="68304" y="236539"/>
                  <a:pt x="68304" y="276122"/>
                </a:cubicBezTo>
                <a:cubicBezTo>
                  <a:pt x="68304" y="315797"/>
                  <a:pt x="100561" y="348016"/>
                  <a:pt x="140191" y="348016"/>
                </a:cubicBezTo>
                <a:cubicBezTo>
                  <a:pt x="143048" y="348016"/>
                  <a:pt x="145721" y="347463"/>
                  <a:pt x="148486" y="347095"/>
                </a:cubicBezTo>
                <a:cubicBezTo>
                  <a:pt x="143233" y="355564"/>
                  <a:pt x="140099" y="365414"/>
                  <a:pt x="140099" y="376000"/>
                </a:cubicBezTo>
                <a:lnTo>
                  <a:pt x="140099" y="420922"/>
                </a:lnTo>
                <a:lnTo>
                  <a:pt x="116229" y="420922"/>
                </a:lnTo>
                <a:cubicBezTo>
                  <a:pt x="105261" y="420922"/>
                  <a:pt x="96413" y="412085"/>
                  <a:pt x="96413" y="401131"/>
                </a:cubicBezTo>
                <a:lnTo>
                  <a:pt x="96413" y="380787"/>
                </a:lnTo>
                <a:cubicBezTo>
                  <a:pt x="87474" y="377013"/>
                  <a:pt x="79455" y="371950"/>
                  <a:pt x="71806" y="366150"/>
                </a:cubicBezTo>
                <a:lnTo>
                  <a:pt x="53742" y="376552"/>
                </a:lnTo>
                <a:cubicBezTo>
                  <a:pt x="49226" y="379222"/>
                  <a:pt x="43788" y="379866"/>
                  <a:pt x="38719" y="378577"/>
                </a:cubicBezTo>
                <a:cubicBezTo>
                  <a:pt x="33650" y="377197"/>
                  <a:pt x="29318" y="373883"/>
                  <a:pt x="26738" y="369372"/>
                </a:cubicBezTo>
                <a:lnTo>
                  <a:pt x="2683" y="327764"/>
                </a:lnTo>
                <a:cubicBezTo>
                  <a:pt x="-2847" y="318282"/>
                  <a:pt x="471" y="306131"/>
                  <a:pt x="9872" y="300700"/>
                </a:cubicBezTo>
                <a:lnTo>
                  <a:pt x="28120" y="290206"/>
                </a:lnTo>
                <a:cubicBezTo>
                  <a:pt x="27475" y="285604"/>
                  <a:pt x="26645" y="281001"/>
                  <a:pt x="26645" y="276122"/>
                </a:cubicBezTo>
                <a:cubicBezTo>
                  <a:pt x="26645" y="271335"/>
                  <a:pt x="27475" y="266733"/>
                  <a:pt x="28120" y="262038"/>
                </a:cubicBezTo>
                <a:lnTo>
                  <a:pt x="9872" y="251544"/>
                </a:lnTo>
                <a:cubicBezTo>
                  <a:pt x="471" y="246113"/>
                  <a:pt x="-2847" y="233962"/>
                  <a:pt x="2683" y="224572"/>
                </a:cubicBezTo>
                <a:lnTo>
                  <a:pt x="26738" y="182964"/>
                </a:lnTo>
                <a:cubicBezTo>
                  <a:pt x="29318" y="178361"/>
                  <a:pt x="33650" y="175139"/>
                  <a:pt x="38719" y="173759"/>
                </a:cubicBezTo>
                <a:cubicBezTo>
                  <a:pt x="43788" y="172378"/>
                  <a:pt x="49226" y="173114"/>
                  <a:pt x="53742" y="175692"/>
                </a:cubicBezTo>
                <a:lnTo>
                  <a:pt x="71806" y="186094"/>
                </a:lnTo>
                <a:cubicBezTo>
                  <a:pt x="79455" y="180386"/>
                  <a:pt x="87474" y="175231"/>
                  <a:pt x="96413" y="171457"/>
                </a:cubicBezTo>
                <a:lnTo>
                  <a:pt x="96413" y="151113"/>
                </a:lnTo>
                <a:cubicBezTo>
                  <a:pt x="96413" y="140159"/>
                  <a:pt x="105261" y="131322"/>
                  <a:pt x="116229" y="131322"/>
                </a:cubicBezTo>
                <a:close/>
                <a:moveTo>
                  <a:pt x="445756" y="83476"/>
                </a:moveTo>
                <a:cubicBezTo>
                  <a:pt x="428335" y="83476"/>
                  <a:pt x="414140" y="97557"/>
                  <a:pt x="414140" y="115044"/>
                </a:cubicBezTo>
                <a:cubicBezTo>
                  <a:pt x="414140" y="132438"/>
                  <a:pt x="428335" y="146520"/>
                  <a:pt x="445756" y="146520"/>
                </a:cubicBezTo>
                <a:cubicBezTo>
                  <a:pt x="463176" y="146520"/>
                  <a:pt x="477371" y="132438"/>
                  <a:pt x="477371" y="115044"/>
                </a:cubicBezTo>
                <a:cubicBezTo>
                  <a:pt x="477371" y="97557"/>
                  <a:pt x="463176" y="83476"/>
                  <a:pt x="445756" y="83476"/>
                </a:cubicBezTo>
                <a:close/>
                <a:moveTo>
                  <a:pt x="426676" y="0"/>
                </a:moveTo>
                <a:lnTo>
                  <a:pt x="464835" y="0"/>
                </a:lnTo>
                <a:cubicBezTo>
                  <a:pt x="473500" y="0"/>
                  <a:pt x="480597" y="7087"/>
                  <a:pt x="480597" y="15738"/>
                </a:cubicBezTo>
                <a:lnTo>
                  <a:pt x="480597" y="31936"/>
                </a:lnTo>
                <a:cubicBezTo>
                  <a:pt x="487694" y="34881"/>
                  <a:pt x="494054" y="38931"/>
                  <a:pt x="500138" y="43533"/>
                </a:cubicBezTo>
                <a:lnTo>
                  <a:pt x="514425" y="35249"/>
                </a:lnTo>
                <a:cubicBezTo>
                  <a:pt x="521983" y="30924"/>
                  <a:pt x="531569" y="33501"/>
                  <a:pt x="535901" y="40956"/>
                </a:cubicBezTo>
                <a:lnTo>
                  <a:pt x="554981" y="73996"/>
                </a:lnTo>
                <a:cubicBezTo>
                  <a:pt x="557101" y="77585"/>
                  <a:pt x="557654" y="81911"/>
                  <a:pt x="556640" y="85961"/>
                </a:cubicBezTo>
                <a:cubicBezTo>
                  <a:pt x="555534" y="89918"/>
                  <a:pt x="552861" y="93415"/>
                  <a:pt x="549266" y="95440"/>
                </a:cubicBezTo>
                <a:lnTo>
                  <a:pt x="534887" y="103815"/>
                </a:lnTo>
                <a:cubicBezTo>
                  <a:pt x="535348" y="107497"/>
                  <a:pt x="535993" y="111178"/>
                  <a:pt x="535993" y="115044"/>
                </a:cubicBezTo>
                <a:cubicBezTo>
                  <a:pt x="535993" y="115872"/>
                  <a:pt x="535809" y="116700"/>
                  <a:pt x="535717" y="117621"/>
                </a:cubicBezTo>
                <a:lnTo>
                  <a:pt x="521153" y="117621"/>
                </a:lnTo>
                <a:cubicBezTo>
                  <a:pt x="490828" y="117621"/>
                  <a:pt x="466126" y="142286"/>
                  <a:pt x="466126" y="172565"/>
                </a:cubicBezTo>
                <a:lnTo>
                  <a:pt x="466126" y="229719"/>
                </a:lnTo>
                <a:lnTo>
                  <a:pt x="466126" y="242604"/>
                </a:lnTo>
                <a:cubicBezTo>
                  <a:pt x="462715" y="237726"/>
                  <a:pt x="458383" y="233493"/>
                  <a:pt x="453590" y="229995"/>
                </a:cubicBezTo>
                <a:cubicBezTo>
                  <a:pt x="444465" y="223369"/>
                  <a:pt x="433404" y="219319"/>
                  <a:pt x="421330" y="219319"/>
                </a:cubicBezTo>
                <a:lnTo>
                  <a:pt x="411928" y="219319"/>
                </a:lnTo>
                <a:cubicBezTo>
                  <a:pt x="411375" y="217755"/>
                  <a:pt x="410914" y="216098"/>
                  <a:pt x="410914" y="214257"/>
                </a:cubicBezTo>
                <a:lnTo>
                  <a:pt x="410914" y="198059"/>
                </a:lnTo>
                <a:cubicBezTo>
                  <a:pt x="403817" y="195114"/>
                  <a:pt x="397457" y="191064"/>
                  <a:pt x="391373" y="186463"/>
                </a:cubicBezTo>
                <a:lnTo>
                  <a:pt x="377086" y="194746"/>
                </a:lnTo>
                <a:cubicBezTo>
                  <a:pt x="373492" y="196863"/>
                  <a:pt x="369160" y="197415"/>
                  <a:pt x="365104" y="196310"/>
                </a:cubicBezTo>
                <a:cubicBezTo>
                  <a:pt x="361140" y="195206"/>
                  <a:pt x="357638" y="192629"/>
                  <a:pt x="355610" y="189040"/>
                </a:cubicBezTo>
                <a:lnTo>
                  <a:pt x="336530" y="155999"/>
                </a:lnTo>
                <a:cubicBezTo>
                  <a:pt x="332198" y="148452"/>
                  <a:pt x="334687" y="138881"/>
                  <a:pt x="342245" y="134463"/>
                </a:cubicBezTo>
                <a:lnTo>
                  <a:pt x="356716" y="126180"/>
                </a:lnTo>
                <a:cubicBezTo>
                  <a:pt x="356163" y="122498"/>
                  <a:pt x="355518" y="118817"/>
                  <a:pt x="355518" y="115044"/>
                </a:cubicBezTo>
                <a:cubicBezTo>
                  <a:pt x="355518" y="111178"/>
                  <a:pt x="356163" y="107497"/>
                  <a:pt x="356716" y="103815"/>
                </a:cubicBezTo>
                <a:lnTo>
                  <a:pt x="342245" y="95440"/>
                </a:lnTo>
                <a:cubicBezTo>
                  <a:pt x="334687" y="91115"/>
                  <a:pt x="332198" y="81543"/>
                  <a:pt x="336530" y="73996"/>
                </a:cubicBezTo>
                <a:lnTo>
                  <a:pt x="355610" y="40956"/>
                </a:lnTo>
                <a:cubicBezTo>
                  <a:pt x="357638" y="37366"/>
                  <a:pt x="361140" y="34789"/>
                  <a:pt x="365104" y="33685"/>
                </a:cubicBezTo>
                <a:cubicBezTo>
                  <a:pt x="369160" y="32580"/>
                  <a:pt x="373492" y="33133"/>
                  <a:pt x="377086" y="35249"/>
                </a:cubicBezTo>
                <a:lnTo>
                  <a:pt x="391373" y="43533"/>
                </a:lnTo>
                <a:cubicBezTo>
                  <a:pt x="397457" y="38931"/>
                  <a:pt x="403817" y="34881"/>
                  <a:pt x="410914" y="31936"/>
                </a:cubicBezTo>
                <a:lnTo>
                  <a:pt x="410914" y="15738"/>
                </a:lnTo>
                <a:cubicBezTo>
                  <a:pt x="410914" y="7087"/>
                  <a:pt x="418011" y="0"/>
                  <a:pt x="4266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6" name="iśḻîḋè">
            <a:extLst>
              <a:ext uri="{FF2B5EF4-FFF2-40B4-BE49-F238E27FC236}">
                <a16:creationId xmlns:a16="http://schemas.microsoft.com/office/drawing/2014/main" id="{8EF2492C-7933-4BEB-B485-AC92AE980B0A}"/>
              </a:ext>
            </a:extLst>
          </p:cNvPr>
          <p:cNvSpPr/>
          <p:nvPr/>
        </p:nvSpPr>
        <p:spPr bwMode="auto">
          <a:xfrm>
            <a:off x="8419600" y="4158501"/>
            <a:ext cx="359617" cy="373860"/>
          </a:xfrm>
          <a:custGeom>
            <a:avLst/>
            <a:gdLst>
              <a:gd name="connsiteX0" fmla="*/ 466115 w 584423"/>
              <a:gd name="connsiteY0" fmla="*/ 268189 h 607568"/>
              <a:gd name="connsiteX1" fmla="*/ 479022 w 584423"/>
              <a:gd name="connsiteY1" fmla="*/ 270337 h 607568"/>
              <a:gd name="connsiteX2" fmla="*/ 502991 w 584423"/>
              <a:gd name="connsiteY2" fmla="*/ 288288 h 607568"/>
              <a:gd name="connsiteX3" fmla="*/ 527113 w 584423"/>
              <a:gd name="connsiteY3" fmla="*/ 270337 h 607568"/>
              <a:gd name="connsiteX4" fmla="*/ 539866 w 584423"/>
              <a:gd name="connsiteY4" fmla="*/ 268189 h 607568"/>
              <a:gd name="connsiteX5" fmla="*/ 552004 w 584423"/>
              <a:gd name="connsiteY5" fmla="*/ 271871 h 607568"/>
              <a:gd name="connsiteX6" fmla="*/ 584423 w 584423"/>
              <a:gd name="connsiteY6" fmla="*/ 316826 h 607568"/>
              <a:gd name="connsiteX7" fmla="*/ 584423 w 584423"/>
              <a:gd name="connsiteY7" fmla="*/ 389092 h 607568"/>
              <a:gd name="connsiteX8" fmla="*/ 582118 w 584423"/>
              <a:gd name="connsiteY8" fmla="*/ 396917 h 607568"/>
              <a:gd name="connsiteX9" fmla="*/ 557842 w 584423"/>
              <a:gd name="connsiteY9" fmla="*/ 433894 h 607568"/>
              <a:gd name="connsiteX10" fmla="*/ 557842 w 584423"/>
              <a:gd name="connsiteY10" fmla="*/ 530708 h 607568"/>
              <a:gd name="connsiteX11" fmla="*/ 543553 w 584423"/>
              <a:gd name="connsiteY11" fmla="*/ 544977 h 607568"/>
              <a:gd name="connsiteX12" fmla="*/ 462428 w 584423"/>
              <a:gd name="connsiteY12" fmla="*/ 544977 h 607568"/>
              <a:gd name="connsiteX13" fmla="*/ 448139 w 584423"/>
              <a:gd name="connsiteY13" fmla="*/ 530708 h 607568"/>
              <a:gd name="connsiteX14" fmla="*/ 448139 w 584423"/>
              <a:gd name="connsiteY14" fmla="*/ 433894 h 607568"/>
              <a:gd name="connsiteX15" fmla="*/ 423863 w 584423"/>
              <a:gd name="connsiteY15" fmla="*/ 396917 h 607568"/>
              <a:gd name="connsiteX16" fmla="*/ 421558 w 584423"/>
              <a:gd name="connsiteY16" fmla="*/ 389092 h 607568"/>
              <a:gd name="connsiteX17" fmla="*/ 421558 w 584423"/>
              <a:gd name="connsiteY17" fmla="*/ 316826 h 607568"/>
              <a:gd name="connsiteX18" fmla="*/ 453977 w 584423"/>
              <a:gd name="connsiteY18" fmla="*/ 271871 h 607568"/>
              <a:gd name="connsiteX19" fmla="*/ 466115 w 584423"/>
              <a:gd name="connsiteY19" fmla="*/ 268189 h 607568"/>
              <a:gd name="connsiteX20" fmla="*/ 44557 w 584423"/>
              <a:gd name="connsiteY20" fmla="*/ 268189 h 607568"/>
              <a:gd name="connsiteX21" fmla="*/ 57310 w 584423"/>
              <a:gd name="connsiteY21" fmla="*/ 270337 h 607568"/>
              <a:gd name="connsiteX22" fmla="*/ 81432 w 584423"/>
              <a:gd name="connsiteY22" fmla="*/ 288288 h 607568"/>
              <a:gd name="connsiteX23" fmla="*/ 105401 w 584423"/>
              <a:gd name="connsiteY23" fmla="*/ 270337 h 607568"/>
              <a:gd name="connsiteX24" fmla="*/ 118308 w 584423"/>
              <a:gd name="connsiteY24" fmla="*/ 268189 h 607568"/>
              <a:gd name="connsiteX25" fmla="*/ 130446 w 584423"/>
              <a:gd name="connsiteY25" fmla="*/ 271871 h 607568"/>
              <a:gd name="connsiteX26" fmla="*/ 162865 w 584423"/>
              <a:gd name="connsiteY26" fmla="*/ 316826 h 607568"/>
              <a:gd name="connsiteX27" fmla="*/ 162865 w 584423"/>
              <a:gd name="connsiteY27" fmla="*/ 389092 h 607568"/>
              <a:gd name="connsiteX28" fmla="*/ 160560 w 584423"/>
              <a:gd name="connsiteY28" fmla="*/ 396917 h 607568"/>
              <a:gd name="connsiteX29" fmla="*/ 136284 w 584423"/>
              <a:gd name="connsiteY29" fmla="*/ 433894 h 607568"/>
              <a:gd name="connsiteX30" fmla="*/ 136284 w 584423"/>
              <a:gd name="connsiteY30" fmla="*/ 530708 h 607568"/>
              <a:gd name="connsiteX31" fmla="*/ 121995 w 584423"/>
              <a:gd name="connsiteY31" fmla="*/ 544977 h 607568"/>
              <a:gd name="connsiteX32" fmla="*/ 40870 w 584423"/>
              <a:gd name="connsiteY32" fmla="*/ 544977 h 607568"/>
              <a:gd name="connsiteX33" fmla="*/ 26581 w 584423"/>
              <a:gd name="connsiteY33" fmla="*/ 530708 h 607568"/>
              <a:gd name="connsiteX34" fmla="*/ 26581 w 584423"/>
              <a:gd name="connsiteY34" fmla="*/ 433894 h 607568"/>
              <a:gd name="connsiteX35" fmla="*/ 2305 w 584423"/>
              <a:gd name="connsiteY35" fmla="*/ 396917 h 607568"/>
              <a:gd name="connsiteX36" fmla="*/ 0 w 584423"/>
              <a:gd name="connsiteY36" fmla="*/ 389092 h 607568"/>
              <a:gd name="connsiteX37" fmla="*/ 0 w 584423"/>
              <a:gd name="connsiteY37" fmla="*/ 316826 h 607568"/>
              <a:gd name="connsiteX38" fmla="*/ 32419 w 584423"/>
              <a:gd name="connsiteY38" fmla="*/ 271871 h 607568"/>
              <a:gd name="connsiteX39" fmla="*/ 44557 w 584423"/>
              <a:gd name="connsiteY39" fmla="*/ 268189 h 607568"/>
              <a:gd name="connsiteX40" fmla="*/ 283757 w 584423"/>
              <a:gd name="connsiteY40" fmla="*/ 227644 h 607568"/>
              <a:gd name="connsiteX41" fmla="*/ 300667 w 584423"/>
              <a:gd name="connsiteY41" fmla="*/ 227644 h 607568"/>
              <a:gd name="connsiteX42" fmla="*/ 306663 w 584423"/>
              <a:gd name="connsiteY42" fmla="*/ 230253 h 607568"/>
              <a:gd name="connsiteX43" fmla="*/ 307739 w 584423"/>
              <a:gd name="connsiteY43" fmla="*/ 239459 h 607568"/>
              <a:gd name="connsiteX44" fmla="*/ 298669 w 584423"/>
              <a:gd name="connsiteY44" fmla="*/ 252962 h 607568"/>
              <a:gd name="connsiteX45" fmla="*/ 302973 w 584423"/>
              <a:gd name="connsiteY45" fmla="*/ 288561 h 607568"/>
              <a:gd name="connsiteX46" fmla="*/ 294672 w 584423"/>
              <a:gd name="connsiteY46" fmla="*/ 310810 h 607568"/>
              <a:gd name="connsiteX47" fmla="*/ 289752 w 584423"/>
              <a:gd name="connsiteY47" fmla="*/ 310810 h 607568"/>
              <a:gd name="connsiteX48" fmla="*/ 281451 w 584423"/>
              <a:gd name="connsiteY48" fmla="*/ 288561 h 607568"/>
              <a:gd name="connsiteX49" fmla="*/ 285755 w 584423"/>
              <a:gd name="connsiteY49" fmla="*/ 252962 h 607568"/>
              <a:gd name="connsiteX50" fmla="*/ 276685 w 584423"/>
              <a:gd name="connsiteY50" fmla="*/ 239459 h 607568"/>
              <a:gd name="connsiteX51" fmla="*/ 277761 w 584423"/>
              <a:gd name="connsiteY51" fmla="*/ 230253 h 607568"/>
              <a:gd name="connsiteX52" fmla="*/ 283757 w 584423"/>
              <a:gd name="connsiteY52" fmla="*/ 227644 h 607568"/>
              <a:gd name="connsiteX53" fmla="*/ 243694 w 584423"/>
              <a:gd name="connsiteY53" fmla="*/ 226776 h 607568"/>
              <a:gd name="connsiteX54" fmla="*/ 248918 w 584423"/>
              <a:gd name="connsiteY54" fmla="*/ 230304 h 607568"/>
              <a:gd name="connsiteX55" fmla="*/ 285947 w 584423"/>
              <a:gd name="connsiteY55" fmla="*/ 331870 h 607568"/>
              <a:gd name="connsiteX56" fmla="*/ 298546 w 584423"/>
              <a:gd name="connsiteY56" fmla="*/ 331870 h 607568"/>
              <a:gd name="connsiteX57" fmla="*/ 335575 w 584423"/>
              <a:gd name="connsiteY57" fmla="*/ 230304 h 607568"/>
              <a:gd name="connsiteX58" fmla="*/ 342336 w 584423"/>
              <a:gd name="connsiteY58" fmla="*/ 226929 h 607568"/>
              <a:gd name="connsiteX59" fmla="*/ 360005 w 584423"/>
              <a:gd name="connsiteY59" fmla="*/ 232299 h 607568"/>
              <a:gd name="connsiteX60" fmla="*/ 360005 w 584423"/>
              <a:gd name="connsiteY60" fmla="*/ 232452 h 607568"/>
              <a:gd name="connsiteX61" fmla="*/ 397495 w 584423"/>
              <a:gd name="connsiteY61" fmla="*/ 284002 h 607568"/>
              <a:gd name="connsiteX62" fmla="*/ 397495 w 584423"/>
              <a:gd name="connsiteY62" fmla="*/ 391704 h 607568"/>
              <a:gd name="connsiteX63" fmla="*/ 396573 w 584423"/>
              <a:gd name="connsiteY63" fmla="*/ 394619 h 607568"/>
              <a:gd name="connsiteX64" fmla="*/ 358008 w 584423"/>
              <a:gd name="connsiteY64" fmla="*/ 453379 h 607568"/>
              <a:gd name="connsiteX65" fmla="*/ 358008 w 584423"/>
              <a:gd name="connsiteY65" fmla="*/ 602045 h 607568"/>
              <a:gd name="connsiteX66" fmla="*/ 352476 w 584423"/>
              <a:gd name="connsiteY66" fmla="*/ 607568 h 607568"/>
              <a:gd name="connsiteX67" fmla="*/ 232017 w 584423"/>
              <a:gd name="connsiteY67" fmla="*/ 607568 h 607568"/>
              <a:gd name="connsiteX68" fmla="*/ 226485 w 584423"/>
              <a:gd name="connsiteY68" fmla="*/ 602045 h 607568"/>
              <a:gd name="connsiteX69" fmla="*/ 226485 w 584423"/>
              <a:gd name="connsiteY69" fmla="*/ 453379 h 607568"/>
              <a:gd name="connsiteX70" fmla="*/ 187920 w 584423"/>
              <a:gd name="connsiteY70" fmla="*/ 394619 h 607568"/>
              <a:gd name="connsiteX71" fmla="*/ 186998 w 584423"/>
              <a:gd name="connsiteY71" fmla="*/ 391704 h 607568"/>
              <a:gd name="connsiteX72" fmla="*/ 186998 w 584423"/>
              <a:gd name="connsiteY72" fmla="*/ 284309 h 607568"/>
              <a:gd name="connsiteX73" fmla="*/ 224488 w 584423"/>
              <a:gd name="connsiteY73" fmla="*/ 232299 h 607568"/>
              <a:gd name="connsiteX74" fmla="*/ 243694 w 584423"/>
              <a:gd name="connsiteY74" fmla="*/ 226776 h 607568"/>
              <a:gd name="connsiteX75" fmla="*/ 503026 w 584423"/>
              <a:gd name="connsiteY75" fmla="*/ 160466 h 607568"/>
              <a:gd name="connsiteX76" fmla="*/ 550975 w 584423"/>
              <a:gd name="connsiteY76" fmla="*/ 208274 h 607568"/>
              <a:gd name="connsiteX77" fmla="*/ 503026 w 584423"/>
              <a:gd name="connsiteY77" fmla="*/ 256082 h 607568"/>
              <a:gd name="connsiteX78" fmla="*/ 455077 w 584423"/>
              <a:gd name="connsiteY78" fmla="*/ 208274 h 607568"/>
              <a:gd name="connsiteX79" fmla="*/ 503026 w 584423"/>
              <a:gd name="connsiteY79" fmla="*/ 160466 h 607568"/>
              <a:gd name="connsiteX80" fmla="*/ 81397 w 584423"/>
              <a:gd name="connsiteY80" fmla="*/ 160466 h 607568"/>
              <a:gd name="connsiteX81" fmla="*/ 129346 w 584423"/>
              <a:gd name="connsiteY81" fmla="*/ 208274 h 607568"/>
              <a:gd name="connsiteX82" fmla="*/ 81397 w 584423"/>
              <a:gd name="connsiteY82" fmla="*/ 256082 h 607568"/>
              <a:gd name="connsiteX83" fmla="*/ 33448 w 584423"/>
              <a:gd name="connsiteY83" fmla="*/ 208274 h 607568"/>
              <a:gd name="connsiteX84" fmla="*/ 81397 w 584423"/>
              <a:gd name="connsiteY84" fmla="*/ 160466 h 607568"/>
              <a:gd name="connsiteX85" fmla="*/ 292212 w 584423"/>
              <a:gd name="connsiteY85" fmla="*/ 79174 h 607568"/>
              <a:gd name="connsiteX86" fmla="*/ 353957 w 584423"/>
              <a:gd name="connsiteY86" fmla="*/ 140848 h 607568"/>
              <a:gd name="connsiteX87" fmla="*/ 292212 w 584423"/>
              <a:gd name="connsiteY87" fmla="*/ 202522 h 607568"/>
              <a:gd name="connsiteX88" fmla="*/ 230467 w 584423"/>
              <a:gd name="connsiteY88" fmla="*/ 140848 h 607568"/>
              <a:gd name="connsiteX89" fmla="*/ 292212 w 584423"/>
              <a:gd name="connsiteY89" fmla="*/ 79174 h 607568"/>
              <a:gd name="connsiteX90" fmla="*/ 292212 w 584423"/>
              <a:gd name="connsiteY90" fmla="*/ 0 h 607568"/>
              <a:gd name="connsiteX91" fmla="*/ 504683 w 584423"/>
              <a:gd name="connsiteY91" fmla="*/ 105068 h 607568"/>
              <a:gd name="connsiteX92" fmla="*/ 501764 w 584423"/>
              <a:gd name="connsiteY92" fmla="*/ 126542 h 607568"/>
              <a:gd name="connsiteX93" fmla="*/ 492546 w 584423"/>
              <a:gd name="connsiteY93" fmla="*/ 129610 h 607568"/>
              <a:gd name="connsiteX94" fmla="*/ 480409 w 584423"/>
              <a:gd name="connsiteY94" fmla="*/ 123628 h 607568"/>
              <a:gd name="connsiteX95" fmla="*/ 292212 w 584423"/>
              <a:gd name="connsiteY95" fmla="*/ 30677 h 607568"/>
              <a:gd name="connsiteX96" fmla="*/ 104014 w 584423"/>
              <a:gd name="connsiteY96" fmla="*/ 123628 h 607568"/>
              <a:gd name="connsiteX97" fmla="*/ 82659 w 584423"/>
              <a:gd name="connsiteY97" fmla="*/ 126542 h 607568"/>
              <a:gd name="connsiteX98" fmla="*/ 79740 w 584423"/>
              <a:gd name="connsiteY98" fmla="*/ 105068 h 607568"/>
              <a:gd name="connsiteX99" fmla="*/ 292212 w 584423"/>
              <a:gd name="connsiteY99" fmla="*/ 0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584423" h="607568">
                <a:moveTo>
                  <a:pt x="466115" y="268189"/>
                </a:moveTo>
                <a:cubicBezTo>
                  <a:pt x="470571" y="266808"/>
                  <a:pt x="475334" y="267575"/>
                  <a:pt x="479022" y="270337"/>
                </a:cubicBezTo>
                <a:lnTo>
                  <a:pt x="502991" y="288288"/>
                </a:lnTo>
                <a:lnTo>
                  <a:pt x="527113" y="270337"/>
                </a:lnTo>
                <a:cubicBezTo>
                  <a:pt x="530647" y="267575"/>
                  <a:pt x="535410" y="266808"/>
                  <a:pt x="539866" y="268189"/>
                </a:cubicBezTo>
                <a:cubicBezTo>
                  <a:pt x="539866" y="268189"/>
                  <a:pt x="551850" y="271871"/>
                  <a:pt x="552004" y="271871"/>
                </a:cubicBezTo>
                <a:cubicBezTo>
                  <a:pt x="571363" y="278315"/>
                  <a:pt x="584423" y="296420"/>
                  <a:pt x="584423" y="316826"/>
                </a:cubicBezTo>
                <a:lnTo>
                  <a:pt x="584423" y="389092"/>
                </a:lnTo>
                <a:cubicBezTo>
                  <a:pt x="584423" y="391854"/>
                  <a:pt x="583655" y="394615"/>
                  <a:pt x="582118" y="396917"/>
                </a:cubicBezTo>
                <a:lnTo>
                  <a:pt x="557842" y="433894"/>
                </a:lnTo>
                <a:lnTo>
                  <a:pt x="557842" y="530708"/>
                </a:lnTo>
                <a:cubicBezTo>
                  <a:pt x="557842" y="538686"/>
                  <a:pt x="551389" y="544977"/>
                  <a:pt x="543553" y="544977"/>
                </a:cubicBezTo>
                <a:lnTo>
                  <a:pt x="462428" y="544977"/>
                </a:lnTo>
                <a:cubicBezTo>
                  <a:pt x="454592" y="544977"/>
                  <a:pt x="448139" y="538686"/>
                  <a:pt x="448139" y="530708"/>
                </a:cubicBezTo>
                <a:lnTo>
                  <a:pt x="448139" y="433894"/>
                </a:lnTo>
                <a:lnTo>
                  <a:pt x="423863" y="396917"/>
                </a:lnTo>
                <a:cubicBezTo>
                  <a:pt x="422326" y="394615"/>
                  <a:pt x="421558" y="391854"/>
                  <a:pt x="421558" y="389092"/>
                </a:cubicBezTo>
                <a:lnTo>
                  <a:pt x="421558" y="316826"/>
                </a:lnTo>
                <a:cubicBezTo>
                  <a:pt x="421558" y="296420"/>
                  <a:pt x="434618" y="278315"/>
                  <a:pt x="453977" y="271871"/>
                </a:cubicBezTo>
                <a:cubicBezTo>
                  <a:pt x="454131" y="271871"/>
                  <a:pt x="466115" y="268189"/>
                  <a:pt x="466115" y="268189"/>
                </a:cubicBezTo>
                <a:close/>
                <a:moveTo>
                  <a:pt x="44557" y="268189"/>
                </a:moveTo>
                <a:cubicBezTo>
                  <a:pt x="49013" y="266808"/>
                  <a:pt x="53776" y="267575"/>
                  <a:pt x="57310" y="270337"/>
                </a:cubicBezTo>
                <a:lnTo>
                  <a:pt x="81432" y="288288"/>
                </a:lnTo>
                <a:lnTo>
                  <a:pt x="105401" y="270337"/>
                </a:lnTo>
                <a:cubicBezTo>
                  <a:pt x="109089" y="267575"/>
                  <a:pt x="113852" y="266808"/>
                  <a:pt x="118308" y="268189"/>
                </a:cubicBezTo>
                <a:cubicBezTo>
                  <a:pt x="118308" y="268189"/>
                  <a:pt x="130292" y="271871"/>
                  <a:pt x="130446" y="271871"/>
                </a:cubicBezTo>
                <a:cubicBezTo>
                  <a:pt x="149805" y="278315"/>
                  <a:pt x="162865" y="296420"/>
                  <a:pt x="162865" y="316826"/>
                </a:cubicBezTo>
                <a:lnTo>
                  <a:pt x="162865" y="389092"/>
                </a:lnTo>
                <a:cubicBezTo>
                  <a:pt x="162865" y="391854"/>
                  <a:pt x="162097" y="394615"/>
                  <a:pt x="160560" y="396917"/>
                </a:cubicBezTo>
                <a:lnTo>
                  <a:pt x="136284" y="433894"/>
                </a:lnTo>
                <a:lnTo>
                  <a:pt x="136284" y="530708"/>
                </a:lnTo>
                <a:cubicBezTo>
                  <a:pt x="136284" y="538686"/>
                  <a:pt x="129831" y="544977"/>
                  <a:pt x="121995" y="544977"/>
                </a:cubicBezTo>
                <a:lnTo>
                  <a:pt x="40870" y="544977"/>
                </a:lnTo>
                <a:cubicBezTo>
                  <a:pt x="33034" y="544977"/>
                  <a:pt x="26581" y="538686"/>
                  <a:pt x="26581" y="530708"/>
                </a:cubicBezTo>
                <a:lnTo>
                  <a:pt x="26581" y="433894"/>
                </a:lnTo>
                <a:lnTo>
                  <a:pt x="2305" y="396917"/>
                </a:lnTo>
                <a:cubicBezTo>
                  <a:pt x="768" y="394615"/>
                  <a:pt x="0" y="391854"/>
                  <a:pt x="0" y="389092"/>
                </a:cubicBezTo>
                <a:lnTo>
                  <a:pt x="0" y="316826"/>
                </a:lnTo>
                <a:cubicBezTo>
                  <a:pt x="0" y="296420"/>
                  <a:pt x="13060" y="278315"/>
                  <a:pt x="32419" y="271871"/>
                </a:cubicBezTo>
                <a:cubicBezTo>
                  <a:pt x="32573" y="271871"/>
                  <a:pt x="44557" y="268189"/>
                  <a:pt x="44557" y="268189"/>
                </a:cubicBezTo>
                <a:close/>
                <a:moveTo>
                  <a:pt x="283757" y="227644"/>
                </a:moveTo>
                <a:lnTo>
                  <a:pt x="300667" y="227644"/>
                </a:lnTo>
                <a:cubicBezTo>
                  <a:pt x="302973" y="227644"/>
                  <a:pt x="305126" y="228565"/>
                  <a:pt x="306663" y="230253"/>
                </a:cubicBezTo>
                <a:cubicBezTo>
                  <a:pt x="309123" y="232861"/>
                  <a:pt x="309430" y="236544"/>
                  <a:pt x="307739" y="239459"/>
                </a:cubicBezTo>
                <a:lnTo>
                  <a:pt x="298669" y="252962"/>
                </a:lnTo>
                <a:lnTo>
                  <a:pt x="302973" y="288561"/>
                </a:lnTo>
                <a:lnTo>
                  <a:pt x="294672" y="310810"/>
                </a:lnTo>
                <a:cubicBezTo>
                  <a:pt x="293749" y="312958"/>
                  <a:pt x="290675" y="312958"/>
                  <a:pt x="289752" y="310810"/>
                </a:cubicBezTo>
                <a:lnTo>
                  <a:pt x="281451" y="288561"/>
                </a:lnTo>
                <a:lnTo>
                  <a:pt x="285755" y="252962"/>
                </a:lnTo>
                <a:lnTo>
                  <a:pt x="276685" y="239459"/>
                </a:lnTo>
                <a:cubicBezTo>
                  <a:pt x="274994" y="236544"/>
                  <a:pt x="275302" y="232861"/>
                  <a:pt x="277761" y="230253"/>
                </a:cubicBezTo>
                <a:cubicBezTo>
                  <a:pt x="279299" y="228565"/>
                  <a:pt x="281451" y="227644"/>
                  <a:pt x="283757" y="227644"/>
                </a:cubicBezTo>
                <a:close/>
                <a:moveTo>
                  <a:pt x="243694" y="226776"/>
                </a:moveTo>
                <a:cubicBezTo>
                  <a:pt x="245999" y="226776"/>
                  <a:pt x="248150" y="228157"/>
                  <a:pt x="248918" y="230304"/>
                </a:cubicBezTo>
                <a:lnTo>
                  <a:pt x="285947" y="331870"/>
                </a:lnTo>
                <a:cubicBezTo>
                  <a:pt x="288098" y="337700"/>
                  <a:pt x="296395" y="337700"/>
                  <a:pt x="298546" y="331870"/>
                </a:cubicBezTo>
                <a:lnTo>
                  <a:pt x="335575" y="230304"/>
                </a:lnTo>
                <a:cubicBezTo>
                  <a:pt x="336651" y="227543"/>
                  <a:pt x="339570" y="226162"/>
                  <a:pt x="342336" y="226929"/>
                </a:cubicBezTo>
                <a:lnTo>
                  <a:pt x="360005" y="232299"/>
                </a:lnTo>
                <a:lnTo>
                  <a:pt x="360005" y="232452"/>
                </a:lnTo>
                <a:cubicBezTo>
                  <a:pt x="382438" y="239663"/>
                  <a:pt x="397495" y="260528"/>
                  <a:pt x="397495" y="284002"/>
                </a:cubicBezTo>
                <a:lnTo>
                  <a:pt x="397495" y="391704"/>
                </a:lnTo>
                <a:cubicBezTo>
                  <a:pt x="397495" y="392778"/>
                  <a:pt x="397188" y="393852"/>
                  <a:pt x="396573" y="394619"/>
                </a:cubicBezTo>
                <a:lnTo>
                  <a:pt x="358008" y="453379"/>
                </a:lnTo>
                <a:lnTo>
                  <a:pt x="358008" y="602045"/>
                </a:lnTo>
                <a:cubicBezTo>
                  <a:pt x="358008" y="605113"/>
                  <a:pt x="355549" y="607568"/>
                  <a:pt x="352476" y="607568"/>
                </a:cubicBezTo>
                <a:lnTo>
                  <a:pt x="232017" y="607568"/>
                </a:lnTo>
                <a:cubicBezTo>
                  <a:pt x="228944" y="607568"/>
                  <a:pt x="226485" y="605113"/>
                  <a:pt x="226485" y="602045"/>
                </a:cubicBezTo>
                <a:lnTo>
                  <a:pt x="226485" y="453379"/>
                </a:lnTo>
                <a:lnTo>
                  <a:pt x="187920" y="394619"/>
                </a:lnTo>
                <a:cubicBezTo>
                  <a:pt x="187305" y="393852"/>
                  <a:pt x="186998" y="392778"/>
                  <a:pt x="186998" y="391704"/>
                </a:cubicBezTo>
                <a:lnTo>
                  <a:pt x="186998" y="284309"/>
                </a:lnTo>
                <a:cubicBezTo>
                  <a:pt x="186998" y="260682"/>
                  <a:pt x="202055" y="239817"/>
                  <a:pt x="224488" y="232299"/>
                </a:cubicBezTo>
                <a:cubicBezTo>
                  <a:pt x="224488" y="232299"/>
                  <a:pt x="243233" y="226776"/>
                  <a:pt x="243694" y="226776"/>
                </a:cubicBezTo>
                <a:close/>
                <a:moveTo>
                  <a:pt x="503026" y="160466"/>
                </a:moveTo>
                <a:cubicBezTo>
                  <a:pt x="529508" y="160466"/>
                  <a:pt x="550975" y="181870"/>
                  <a:pt x="550975" y="208274"/>
                </a:cubicBezTo>
                <a:cubicBezTo>
                  <a:pt x="550975" y="234678"/>
                  <a:pt x="529508" y="256082"/>
                  <a:pt x="503026" y="256082"/>
                </a:cubicBezTo>
                <a:cubicBezTo>
                  <a:pt x="476544" y="256082"/>
                  <a:pt x="455077" y="234678"/>
                  <a:pt x="455077" y="208274"/>
                </a:cubicBezTo>
                <a:cubicBezTo>
                  <a:pt x="455077" y="181870"/>
                  <a:pt x="476544" y="160466"/>
                  <a:pt x="503026" y="160466"/>
                </a:cubicBezTo>
                <a:close/>
                <a:moveTo>
                  <a:pt x="81397" y="160466"/>
                </a:moveTo>
                <a:cubicBezTo>
                  <a:pt x="107879" y="160466"/>
                  <a:pt x="129346" y="181870"/>
                  <a:pt x="129346" y="208274"/>
                </a:cubicBezTo>
                <a:cubicBezTo>
                  <a:pt x="129346" y="234678"/>
                  <a:pt x="107879" y="256082"/>
                  <a:pt x="81397" y="256082"/>
                </a:cubicBezTo>
                <a:cubicBezTo>
                  <a:pt x="54915" y="256082"/>
                  <a:pt x="33448" y="234678"/>
                  <a:pt x="33448" y="208274"/>
                </a:cubicBezTo>
                <a:cubicBezTo>
                  <a:pt x="33448" y="181870"/>
                  <a:pt x="54915" y="160466"/>
                  <a:pt x="81397" y="160466"/>
                </a:cubicBezTo>
                <a:close/>
                <a:moveTo>
                  <a:pt x="292212" y="79174"/>
                </a:moveTo>
                <a:cubicBezTo>
                  <a:pt x="326313" y="79174"/>
                  <a:pt x="353957" y="106786"/>
                  <a:pt x="353957" y="140848"/>
                </a:cubicBezTo>
                <a:cubicBezTo>
                  <a:pt x="353957" y="174910"/>
                  <a:pt x="326313" y="202522"/>
                  <a:pt x="292212" y="202522"/>
                </a:cubicBezTo>
                <a:cubicBezTo>
                  <a:pt x="258111" y="202522"/>
                  <a:pt x="230467" y="174910"/>
                  <a:pt x="230467" y="140848"/>
                </a:cubicBezTo>
                <a:cubicBezTo>
                  <a:pt x="230467" y="106786"/>
                  <a:pt x="258111" y="79174"/>
                  <a:pt x="292212" y="79174"/>
                </a:cubicBezTo>
                <a:close/>
                <a:moveTo>
                  <a:pt x="292212" y="0"/>
                </a:moveTo>
                <a:cubicBezTo>
                  <a:pt x="376247" y="0"/>
                  <a:pt x="453677" y="38346"/>
                  <a:pt x="504683" y="105068"/>
                </a:cubicBezTo>
                <a:cubicBezTo>
                  <a:pt x="509906" y="111817"/>
                  <a:pt x="508523" y="121481"/>
                  <a:pt x="501764" y="126542"/>
                </a:cubicBezTo>
                <a:cubicBezTo>
                  <a:pt x="498998" y="128690"/>
                  <a:pt x="495772" y="129610"/>
                  <a:pt x="492546" y="129610"/>
                </a:cubicBezTo>
                <a:cubicBezTo>
                  <a:pt x="487937" y="129610"/>
                  <a:pt x="483328" y="127616"/>
                  <a:pt x="480409" y="123628"/>
                </a:cubicBezTo>
                <a:cubicBezTo>
                  <a:pt x="435088" y="64575"/>
                  <a:pt x="366569" y="30677"/>
                  <a:pt x="292212" y="30677"/>
                </a:cubicBezTo>
                <a:cubicBezTo>
                  <a:pt x="217854" y="30677"/>
                  <a:pt x="149335" y="64575"/>
                  <a:pt x="104014" y="123628"/>
                </a:cubicBezTo>
                <a:cubicBezTo>
                  <a:pt x="98944" y="130377"/>
                  <a:pt x="89265" y="131604"/>
                  <a:pt x="82659" y="126542"/>
                </a:cubicBezTo>
                <a:cubicBezTo>
                  <a:pt x="75900" y="121481"/>
                  <a:pt x="74517" y="111817"/>
                  <a:pt x="79740" y="105068"/>
                </a:cubicBezTo>
                <a:cubicBezTo>
                  <a:pt x="130746" y="38346"/>
                  <a:pt x="208176" y="0"/>
                  <a:pt x="29221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7575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团队成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FDD8E46-73C7-4869-8A01-D3404682A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6989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D66499-C586-4F9F-BC78-7B5692A1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团队成员（</a:t>
            </a:r>
            <a:r>
              <a:rPr lang="en-US" altLang="zh-CN" sz="3600" dirty="0"/>
              <a:t>5</a:t>
            </a:r>
            <a:r>
              <a:rPr lang="zh-CN" altLang="en-US" sz="3600" dirty="0"/>
              <a:t>人）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426DA2-686A-46A6-811D-3AFE7B4A3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21" name="4be90c13-0265-47d4-9235-2547409d16a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BA5C67-8488-48FC-8C3B-E5C92294F9A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18209" y="2633142"/>
            <a:ext cx="8899339" cy="1380400"/>
            <a:chOff x="518796" y="2519461"/>
            <a:chExt cx="11083444" cy="1719182"/>
          </a:xfrm>
        </p:grpSpPr>
        <p:grpSp>
          <p:nvGrpSpPr>
            <p:cNvPr id="22" name="išḻiďê">
              <a:extLst>
                <a:ext uri="{FF2B5EF4-FFF2-40B4-BE49-F238E27FC236}">
                  <a16:creationId xmlns:a16="http://schemas.microsoft.com/office/drawing/2014/main" id="{E83E8A15-4B39-4E8F-A749-2312A7BDF26A}"/>
                </a:ext>
              </a:extLst>
            </p:cNvPr>
            <p:cNvGrpSpPr/>
            <p:nvPr/>
          </p:nvGrpSpPr>
          <p:grpSpPr>
            <a:xfrm>
              <a:off x="4093808" y="2850618"/>
              <a:ext cx="4026135" cy="1388025"/>
              <a:chOff x="4093808" y="2850618"/>
              <a:chExt cx="4026135" cy="1388025"/>
            </a:xfrm>
          </p:grpSpPr>
          <p:sp>
            <p:nvSpPr>
              <p:cNvPr id="31" name="îşľîḍê">
                <a:extLst>
                  <a:ext uri="{FF2B5EF4-FFF2-40B4-BE49-F238E27FC236}">
                    <a16:creationId xmlns:a16="http://schemas.microsoft.com/office/drawing/2014/main" id="{ED88E3B3-B062-4F48-88BC-FAADDFB5F57F}"/>
                  </a:ext>
                </a:extLst>
              </p:cNvPr>
              <p:cNvSpPr/>
              <p:nvPr/>
            </p:nvSpPr>
            <p:spPr>
              <a:xfrm>
                <a:off x="6147753" y="2850618"/>
                <a:ext cx="1972190" cy="1388025"/>
              </a:xfrm>
              <a:prstGeom prst="homePlat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2400" b="1" dirty="0">
                    <a:solidFill>
                      <a:schemeClr val="bg1"/>
                    </a:solidFill>
                  </a:rPr>
                  <a:t>   </a:t>
                </a:r>
                <a:r>
                  <a:rPr lang="zh-CN" altLang="en-US" b="1" dirty="0">
                    <a:solidFill>
                      <a:schemeClr val="bg1"/>
                    </a:solidFill>
                  </a:rPr>
                  <a:t>秦旭坤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ïšľïḓê">
                <a:extLst>
                  <a:ext uri="{FF2B5EF4-FFF2-40B4-BE49-F238E27FC236}">
                    <a16:creationId xmlns:a16="http://schemas.microsoft.com/office/drawing/2014/main" id="{98596282-CCD2-48A9-8B0B-0CF2E2AEEEB1}"/>
                  </a:ext>
                </a:extLst>
              </p:cNvPr>
              <p:cNvSpPr/>
              <p:nvPr/>
            </p:nvSpPr>
            <p:spPr>
              <a:xfrm flipH="1">
                <a:off x="4093808" y="2850618"/>
                <a:ext cx="1972190" cy="1388025"/>
              </a:xfrm>
              <a:prstGeom prst="homePlat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1440" tIns="45720" rIns="91440" bIns="45720" anchor="ctr" anchorCtr="0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bg1"/>
                    </a:solidFill>
                  </a:rPr>
                  <a:t>刘君昊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  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iś1ïḋé">
              <a:extLst>
                <a:ext uri="{FF2B5EF4-FFF2-40B4-BE49-F238E27FC236}">
                  <a16:creationId xmlns:a16="http://schemas.microsoft.com/office/drawing/2014/main" id="{C8D3B52B-E6DC-45E4-87A5-DC9D815E5ABA}"/>
                </a:ext>
              </a:extLst>
            </p:cNvPr>
            <p:cNvSpPr/>
            <p:nvPr/>
          </p:nvSpPr>
          <p:spPr bwMode="auto">
            <a:xfrm>
              <a:off x="9699948" y="2519461"/>
              <a:ext cx="458418" cy="387396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5" name="iṧḻîḑé">
              <a:extLst>
                <a:ext uri="{FF2B5EF4-FFF2-40B4-BE49-F238E27FC236}">
                  <a16:creationId xmlns:a16="http://schemas.microsoft.com/office/drawing/2014/main" id="{9D958FD8-273C-4BE6-81DF-7B64F0C267D2}"/>
                </a:ext>
              </a:extLst>
            </p:cNvPr>
            <p:cNvSpPr txBox="1"/>
            <p:nvPr/>
          </p:nvSpPr>
          <p:spPr bwMode="auto">
            <a:xfrm>
              <a:off x="518796" y="2895525"/>
              <a:ext cx="3198475" cy="106695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后端开发</a:t>
              </a:r>
              <a:endParaRPr lang="en-US" altLang="zh-CN" sz="2000" b="1" dirty="0"/>
            </a:p>
          </p:txBody>
        </p:sp>
        <p:sp>
          <p:nvSpPr>
            <p:cNvPr id="26" name="iṣḷïḓe">
              <a:extLst>
                <a:ext uri="{FF2B5EF4-FFF2-40B4-BE49-F238E27FC236}">
                  <a16:creationId xmlns:a16="http://schemas.microsoft.com/office/drawing/2014/main" id="{96F7B199-94C3-48D4-92F0-7DABEEFC3A38}"/>
                </a:ext>
              </a:extLst>
            </p:cNvPr>
            <p:cNvSpPr txBox="1"/>
            <p:nvPr/>
          </p:nvSpPr>
          <p:spPr bwMode="auto">
            <a:xfrm>
              <a:off x="8427103" y="2850618"/>
              <a:ext cx="3175137" cy="105201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框架搭建</a:t>
              </a:r>
              <a:endParaRPr lang="en-US" altLang="zh-CN" sz="2000" b="1" dirty="0"/>
            </a:p>
          </p:txBody>
        </p:sp>
      </p:grpSp>
      <p:grpSp>
        <p:nvGrpSpPr>
          <p:cNvPr id="33" name="4be90c13-0265-47d4-9235-2547409d16a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618D337-9F50-454C-80E6-5AE0380B09C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302870" y="4545810"/>
            <a:ext cx="8938817" cy="1448062"/>
            <a:chOff x="651058" y="2473405"/>
            <a:chExt cx="10896726" cy="1765238"/>
          </a:xfrm>
        </p:grpSpPr>
        <p:grpSp>
          <p:nvGrpSpPr>
            <p:cNvPr id="34" name="išḻiďê">
              <a:extLst>
                <a:ext uri="{FF2B5EF4-FFF2-40B4-BE49-F238E27FC236}">
                  <a16:creationId xmlns:a16="http://schemas.microsoft.com/office/drawing/2014/main" id="{3A9CB0A3-0602-4AD0-95C6-D05272F57150}"/>
                </a:ext>
              </a:extLst>
            </p:cNvPr>
            <p:cNvGrpSpPr/>
            <p:nvPr/>
          </p:nvGrpSpPr>
          <p:grpSpPr>
            <a:xfrm>
              <a:off x="4164807" y="2708792"/>
              <a:ext cx="3913347" cy="1529851"/>
              <a:chOff x="4164807" y="2708792"/>
              <a:chExt cx="3913347" cy="1529851"/>
            </a:xfrm>
          </p:grpSpPr>
          <p:sp>
            <p:nvSpPr>
              <p:cNvPr id="43" name="îşľîḍê">
                <a:extLst>
                  <a:ext uri="{FF2B5EF4-FFF2-40B4-BE49-F238E27FC236}">
                    <a16:creationId xmlns:a16="http://schemas.microsoft.com/office/drawing/2014/main" id="{F8E463C7-BFBF-49EE-979C-8BFD8354F86F}"/>
                  </a:ext>
                </a:extLst>
              </p:cNvPr>
              <p:cNvSpPr/>
              <p:nvPr/>
            </p:nvSpPr>
            <p:spPr>
              <a:xfrm>
                <a:off x="6147753" y="2708792"/>
                <a:ext cx="1930401" cy="1529851"/>
              </a:xfrm>
              <a:prstGeom prst="homePlat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2400" b="1" dirty="0">
                    <a:solidFill>
                      <a:schemeClr val="bg1"/>
                    </a:solidFill>
                  </a:rPr>
                  <a:t>   </a:t>
                </a:r>
                <a:r>
                  <a:rPr lang="zh-CN" altLang="en-US" b="1" dirty="0">
                    <a:solidFill>
                      <a:schemeClr val="bg1"/>
                    </a:solidFill>
                  </a:rPr>
                  <a:t>伍金龙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ïšľïḓê">
                <a:extLst>
                  <a:ext uri="{FF2B5EF4-FFF2-40B4-BE49-F238E27FC236}">
                    <a16:creationId xmlns:a16="http://schemas.microsoft.com/office/drawing/2014/main" id="{1DCD614E-E2A8-4256-A074-7E9A018CB716}"/>
                  </a:ext>
                </a:extLst>
              </p:cNvPr>
              <p:cNvSpPr/>
              <p:nvPr/>
            </p:nvSpPr>
            <p:spPr>
              <a:xfrm flipH="1">
                <a:off x="4164807" y="2708792"/>
                <a:ext cx="1901191" cy="1529850"/>
              </a:xfrm>
              <a:prstGeom prst="homePlat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1440" tIns="45720" rIns="91440" bIns="45720" anchor="ctr" anchorCtr="0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bg1"/>
                    </a:solidFill>
                  </a:rPr>
                  <a:t>闵捷</a:t>
                </a:r>
                <a:r>
                  <a:rPr lang="en-US" altLang="zh-CN" sz="2400" b="1" dirty="0">
                    <a:solidFill>
                      <a:schemeClr val="bg1"/>
                    </a:solidFill>
                  </a:rPr>
                  <a:t>  </a:t>
                </a:r>
                <a:endParaRPr lang="zh-CN" alt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2" name="iś1ïḋé">
              <a:extLst>
                <a:ext uri="{FF2B5EF4-FFF2-40B4-BE49-F238E27FC236}">
                  <a16:creationId xmlns:a16="http://schemas.microsoft.com/office/drawing/2014/main" id="{AEA75118-ADB6-4ADF-AFF5-29B58E6E9085}"/>
                </a:ext>
              </a:extLst>
            </p:cNvPr>
            <p:cNvSpPr/>
            <p:nvPr/>
          </p:nvSpPr>
          <p:spPr bwMode="auto">
            <a:xfrm>
              <a:off x="9699948" y="2519461"/>
              <a:ext cx="458418" cy="387396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0" name="ïS1idé">
              <a:extLst>
                <a:ext uri="{FF2B5EF4-FFF2-40B4-BE49-F238E27FC236}">
                  <a16:creationId xmlns:a16="http://schemas.microsoft.com/office/drawing/2014/main" id="{2179CF94-F8DE-4C70-B101-03B0ECC4ECEA}"/>
                </a:ext>
              </a:extLst>
            </p:cNvPr>
            <p:cNvSpPr/>
            <p:nvPr/>
          </p:nvSpPr>
          <p:spPr bwMode="auto">
            <a:xfrm>
              <a:off x="2057681" y="2473405"/>
              <a:ext cx="422961" cy="479506"/>
            </a:xfrm>
            <a:custGeom>
              <a:avLst/>
              <a:gdLst>
                <a:gd name="connsiteX0" fmla="*/ 99685 w 296863"/>
                <a:gd name="connsiteY0" fmla="*/ 290512 h 336550"/>
                <a:gd name="connsiteX1" fmla="*/ 90488 w 296863"/>
                <a:gd name="connsiteY1" fmla="*/ 299244 h 336550"/>
                <a:gd name="connsiteX2" fmla="*/ 99685 w 296863"/>
                <a:gd name="connsiteY2" fmla="*/ 307975 h 336550"/>
                <a:gd name="connsiteX3" fmla="*/ 119392 w 296863"/>
                <a:gd name="connsiteY3" fmla="*/ 307975 h 336550"/>
                <a:gd name="connsiteX4" fmla="*/ 128588 w 296863"/>
                <a:gd name="connsiteY4" fmla="*/ 299244 h 336550"/>
                <a:gd name="connsiteX5" fmla="*/ 119392 w 296863"/>
                <a:gd name="connsiteY5" fmla="*/ 290512 h 336550"/>
                <a:gd name="connsiteX6" fmla="*/ 99685 w 296863"/>
                <a:gd name="connsiteY6" fmla="*/ 290512 h 336550"/>
                <a:gd name="connsiteX7" fmla="*/ 0 w 296863"/>
                <a:gd name="connsiteY7" fmla="*/ 277812 h 336550"/>
                <a:gd name="connsiteX8" fmla="*/ 219075 w 296863"/>
                <a:gd name="connsiteY8" fmla="*/ 277812 h 336550"/>
                <a:gd name="connsiteX9" fmla="*/ 219075 w 296863"/>
                <a:gd name="connsiteY9" fmla="*/ 324803 h 336550"/>
                <a:gd name="connsiteX10" fmla="*/ 208517 w 296863"/>
                <a:gd name="connsiteY10" fmla="*/ 336550 h 336550"/>
                <a:gd name="connsiteX11" fmla="*/ 11877 w 296863"/>
                <a:gd name="connsiteY11" fmla="*/ 336550 h 336550"/>
                <a:gd name="connsiteX12" fmla="*/ 0 w 296863"/>
                <a:gd name="connsiteY12" fmla="*/ 324803 h 336550"/>
                <a:gd name="connsiteX13" fmla="*/ 0 w 296863"/>
                <a:gd name="connsiteY13" fmla="*/ 277812 h 336550"/>
                <a:gd name="connsiteX14" fmla="*/ 120721 w 296863"/>
                <a:gd name="connsiteY14" fmla="*/ 42862 h 336550"/>
                <a:gd name="connsiteX15" fmla="*/ 266630 w 296863"/>
                <a:gd name="connsiteY15" fmla="*/ 42862 h 336550"/>
                <a:gd name="connsiteX16" fmla="*/ 296863 w 296863"/>
                <a:gd name="connsiteY16" fmla="*/ 71747 h 336550"/>
                <a:gd name="connsiteX17" fmla="*/ 296863 w 296863"/>
                <a:gd name="connsiteY17" fmla="*/ 151838 h 336550"/>
                <a:gd name="connsiteX18" fmla="*/ 266630 w 296863"/>
                <a:gd name="connsiteY18" fmla="*/ 182037 h 336550"/>
                <a:gd name="connsiteX19" fmla="*/ 189075 w 296863"/>
                <a:gd name="connsiteY19" fmla="*/ 182037 h 336550"/>
                <a:gd name="connsiteX20" fmla="*/ 156213 w 296863"/>
                <a:gd name="connsiteY20" fmla="*/ 214861 h 336550"/>
                <a:gd name="connsiteX21" fmla="*/ 148326 w 296863"/>
                <a:gd name="connsiteY21" fmla="*/ 217487 h 336550"/>
                <a:gd name="connsiteX22" fmla="*/ 143068 w 296863"/>
                <a:gd name="connsiteY22" fmla="*/ 217487 h 336550"/>
                <a:gd name="connsiteX23" fmla="*/ 136495 w 296863"/>
                <a:gd name="connsiteY23" fmla="*/ 206983 h 336550"/>
                <a:gd name="connsiteX24" fmla="*/ 136495 w 296863"/>
                <a:gd name="connsiteY24" fmla="*/ 182037 h 336550"/>
                <a:gd name="connsiteX25" fmla="*/ 120721 w 296863"/>
                <a:gd name="connsiteY25" fmla="*/ 182037 h 336550"/>
                <a:gd name="connsiteX26" fmla="*/ 90488 w 296863"/>
                <a:gd name="connsiteY26" fmla="*/ 151838 h 336550"/>
                <a:gd name="connsiteX27" fmla="*/ 90488 w 296863"/>
                <a:gd name="connsiteY27" fmla="*/ 71747 h 336550"/>
                <a:gd name="connsiteX28" fmla="*/ 120721 w 296863"/>
                <a:gd name="connsiteY28" fmla="*/ 42862 h 336550"/>
                <a:gd name="connsiteX29" fmla="*/ 11877 w 296863"/>
                <a:gd name="connsiteY29" fmla="*/ 0 h 336550"/>
                <a:gd name="connsiteX30" fmla="*/ 208517 w 296863"/>
                <a:gd name="connsiteY30" fmla="*/ 0 h 336550"/>
                <a:gd name="connsiteX31" fmla="*/ 219075 w 296863"/>
                <a:gd name="connsiteY31" fmla="*/ 11821 h 336550"/>
                <a:gd name="connsiteX32" fmla="*/ 219075 w 296863"/>
                <a:gd name="connsiteY32" fmla="*/ 24957 h 336550"/>
                <a:gd name="connsiteX33" fmla="*/ 121415 w 296863"/>
                <a:gd name="connsiteY33" fmla="*/ 24957 h 336550"/>
                <a:gd name="connsiteX34" fmla="*/ 72585 w 296863"/>
                <a:gd name="connsiteY34" fmla="*/ 72243 h 336550"/>
                <a:gd name="connsiteX35" fmla="*/ 72585 w 296863"/>
                <a:gd name="connsiteY35" fmla="*/ 152368 h 336550"/>
                <a:gd name="connsiteX36" fmla="*/ 118776 w 296863"/>
                <a:gd name="connsiteY36" fmla="*/ 200968 h 336550"/>
                <a:gd name="connsiteX37" fmla="*/ 118776 w 296863"/>
                <a:gd name="connsiteY37" fmla="*/ 207536 h 336550"/>
                <a:gd name="connsiteX38" fmla="*/ 137252 w 296863"/>
                <a:gd name="connsiteY38" fmla="*/ 233806 h 336550"/>
                <a:gd name="connsiteX39" fmla="*/ 149130 w 296863"/>
                <a:gd name="connsiteY39" fmla="*/ 236433 h 336550"/>
                <a:gd name="connsiteX40" fmla="*/ 170245 w 296863"/>
                <a:gd name="connsiteY40" fmla="*/ 228552 h 336550"/>
                <a:gd name="connsiteX41" fmla="*/ 196640 w 296863"/>
                <a:gd name="connsiteY41" fmla="*/ 200968 h 336550"/>
                <a:gd name="connsiteX42" fmla="*/ 219075 w 296863"/>
                <a:gd name="connsiteY42" fmla="*/ 200968 h 336550"/>
                <a:gd name="connsiteX43" fmla="*/ 219075 w 296863"/>
                <a:gd name="connsiteY43" fmla="*/ 258763 h 336550"/>
                <a:gd name="connsiteX44" fmla="*/ 0 w 296863"/>
                <a:gd name="connsiteY44" fmla="*/ 258763 h 336550"/>
                <a:gd name="connsiteX45" fmla="*/ 0 w 296863"/>
                <a:gd name="connsiteY45" fmla="*/ 11821 h 336550"/>
                <a:gd name="connsiteX46" fmla="*/ 11877 w 296863"/>
                <a:gd name="connsiteY46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96863" h="336550">
                  <a:moveTo>
                    <a:pt x="99685" y="290512"/>
                  </a:moveTo>
                  <a:cubicBezTo>
                    <a:pt x="94430" y="290512"/>
                    <a:pt x="90488" y="294254"/>
                    <a:pt x="90488" y="299244"/>
                  </a:cubicBezTo>
                  <a:cubicBezTo>
                    <a:pt x="90488" y="304233"/>
                    <a:pt x="94430" y="307975"/>
                    <a:pt x="99685" y="307975"/>
                  </a:cubicBezTo>
                  <a:cubicBezTo>
                    <a:pt x="99685" y="307975"/>
                    <a:pt x="99685" y="307975"/>
                    <a:pt x="119392" y="307975"/>
                  </a:cubicBezTo>
                  <a:cubicBezTo>
                    <a:pt x="124647" y="307975"/>
                    <a:pt x="128588" y="304233"/>
                    <a:pt x="128588" y="299244"/>
                  </a:cubicBezTo>
                  <a:cubicBezTo>
                    <a:pt x="128588" y="294254"/>
                    <a:pt x="124647" y="290512"/>
                    <a:pt x="119392" y="290512"/>
                  </a:cubicBezTo>
                  <a:cubicBezTo>
                    <a:pt x="119392" y="290512"/>
                    <a:pt x="119392" y="290512"/>
                    <a:pt x="99685" y="290512"/>
                  </a:cubicBezTo>
                  <a:close/>
                  <a:moveTo>
                    <a:pt x="0" y="277812"/>
                  </a:moveTo>
                  <a:lnTo>
                    <a:pt x="219075" y="277812"/>
                  </a:lnTo>
                  <a:cubicBezTo>
                    <a:pt x="219075" y="277812"/>
                    <a:pt x="219075" y="277812"/>
                    <a:pt x="219075" y="324803"/>
                  </a:cubicBezTo>
                  <a:cubicBezTo>
                    <a:pt x="219075" y="331329"/>
                    <a:pt x="213796" y="336550"/>
                    <a:pt x="208517" y="336550"/>
                  </a:cubicBezTo>
                  <a:cubicBezTo>
                    <a:pt x="208517" y="336550"/>
                    <a:pt x="208517" y="336550"/>
                    <a:pt x="11877" y="336550"/>
                  </a:cubicBezTo>
                  <a:cubicBezTo>
                    <a:pt x="5279" y="336550"/>
                    <a:pt x="0" y="331329"/>
                    <a:pt x="0" y="324803"/>
                  </a:cubicBezTo>
                  <a:cubicBezTo>
                    <a:pt x="0" y="324803"/>
                    <a:pt x="0" y="324803"/>
                    <a:pt x="0" y="277812"/>
                  </a:cubicBezTo>
                  <a:close/>
                  <a:moveTo>
                    <a:pt x="120721" y="42862"/>
                  </a:moveTo>
                  <a:cubicBezTo>
                    <a:pt x="120721" y="42862"/>
                    <a:pt x="120721" y="42862"/>
                    <a:pt x="266630" y="42862"/>
                  </a:cubicBezTo>
                  <a:cubicBezTo>
                    <a:pt x="283718" y="42862"/>
                    <a:pt x="296863" y="55991"/>
                    <a:pt x="296863" y="71747"/>
                  </a:cubicBezTo>
                  <a:cubicBezTo>
                    <a:pt x="296863" y="71747"/>
                    <a:pt x="296863" y="71747"/>
                    <a:pt x="296863" y="151838"/>
                  </a:cubicBezTo>
                  <a:cubicBezTo>
                    <a:pt x="296863" y="168907"/>
                    <a:pt x="283718" y="182037"/>
                    <a:pt x="266630" y="182037"/>
                  </a:cubicBezTo>
                  <a:cubicBezTo>
                    <a:pt x="266630" y="182037"/>
                    <a:pt x="266630" y="182037"/>
                    <a:pt x="189075" y="182037"/>
                  </a:cubicBezTo>
                  <a:cubicBezTo>
                    <a:pt x="189075" y="182037"/>
                    <a:pt x="189075" y="182037"/>
                    <a:pt x="156213" y="214861"/>
                  </a:cubicBezTo>
                  <a:cubicBezTo>
                    <a:pt x="153584" y="216174"/>
                    <a:pt x="150955" y="217487"/>
                    <a:pt x="148326" y="217487"/>
                  </a:cubicBezTo>
                  <a:cubicBezTo>
                    <a:pt x="147011" y="217487"/>
                    <a:pt x="144382" y="217487"/>
                    <a:pt x="143068" y="217487"/>
                  </a:cubicBezTo>
                  <a:cubicBezTo>
                    <a:pt x="139124" y="214861"/>
                    <a:pt x="136495" y="210922"/>
                    <a:pt x="136495" y="206983"/>
                  </a:cubicBezTo>
                  <a:cubicBezTo>
                    <a:pt x="136495" y="206983"/>
                    <a:pt x="136495" y="206983"/>
                    <a:pt x="136495" y="182037"/>
                  </a:cubicBezTo>
                  <a:cubicBezTo>
                    <a:pt x="136495" y="182037"/>
                    <a:pt x="136495" y="182037"/>
                    <a:pt x="120721" y="182037"/>
                  </a:cubicBezTo>
                  <a:cubicBezTo>
                    <a:pt x="103633" y="182037"/>
                    <a:pt x="90488" y="168907"/>
                    <a:pt x="90488" y="151838"/>
                  </a:cubicBezTo>
                  <a:cubicBezTo>
                    <a:pt x="90488" y="151838"/>
                    <a:pt x="90488" y="151838"/>
                    <a:pt x="90488" y="71747"/>
                  </a:cubicBezTo>
                  <a:cubicBezTo>
                    <a:pt x="90488" y="55991"/>
                    <a:pt x="103633" y="42862"/>
                    <a:pt x="120721" y="42862"/>
                  </a:cubicBezTo>
                  <a:close/>
                  <a:moveTo>
                    <a:pt x="11877" y="0"/>
                  </a:moveTo>
                  <a:cubicBezTo>
                    <a:pt x="11877" y="0"/>
                    <a:pt x="11877" y="0"/>
                    <a:pt x="208517" y="0"/>
                  </a:cubicBezTo>
                  <a:cubicBezTo>
                    <a:pt x="213796" y="0"/>
                    <a:pt x="219075" y="5254"/>
                    <a:pt x="219075" y="11821"/>
                  </a:cubicBezTo>
                  <a:cubicBezTo>
                    <a:pt x="219075" y="11821"/>
                    <a:pt x="219075" y="11821"/>
                    <a:pt x="219075" y="24957"/>
                  </a:cubicBezTo>
                  <a:cubicBezTo>
                    <a:pt x="219075" y="24957"/>
                    <a:pt x="219075" y="24957"/>
                    <a:pt x="121415" y="24957"/>
                  </a:cubicBezTo>
                  <a:cubicBezTo>
                    <a:pt x="95021" y="24957"/>
                    <a:pt x="72585" y="45973"/>
                    <a:pt x="72585" y="72243"/>
                  </a:cubicBezTo>
                  <a:cubicBezTo>
                    <a:pt x="72585" y="72243"/>
                    <a:pt x="72585" y="72243"/>
                    <a:pt x="72585" y="152368"/>
                  </a:cubicBezTo>
                  <a:cubicBezTo>
                    <a:pt x="72585" y="178638"/>
                    <a:pt x="93701" y="199654"/>
                    <a:pt x="118776" y="200968"/>
                  </a:cubicBezTo>
                  <a:cubicBezTo>
                    <a:pt x="118776" y="200968"/>
                    <a:pt x="118776" y="200968"/>
                    <a:pt x="118776" y="207536"/>
                  </a:cubicBezTo>
                  <a:cubicBezTo>
                    <a:pt x="118776" y="219357"/>
                    <a:pt x="126694" y="229865"/>
                    <a:pt x="137252" y="233806"/>
                  </a:cubicBezTo>
                  <a:cubicBezTo>
                    <a:pt x="141211" y="236433"/>
                    <a:pt x="145170" y="236433"/>
                    <a:pt x="149130" y="236433"/>
                  </a:cubicBezTo>
                  <a:cubicBezTo>
                    <a:pt x="157048" y="236433"/>
                    <a:pt x="163647" y="233806"/>
                    <a:pt x="170245" y="228552"/>
                  </a:cubicBezTo>
                  <a:cubicBezTo>
                    <a:pt x="170245" y="228552"/>
                    <a:pt x="170245" y="228552"/>
                    <a:pt x="196640" y="200968"/>
                  </a:cubicBezTo>
                  <a:cubicBezTo>
                    <a:pt x="196640" y="200968"/>
                    <a:pt x="196640" y="200968"/>
                    <a:pt x="219075" y="200968"/>
                  </a:cubicBezTo>
                  <a:cubicBezTo>
                    <a:pt x="219075" y="200968"/>
                    <a:pt x="219075" y="200968"/>
                    <a:pt x="219075" y="258763"/>
                  </a:cubicBezTo>
                  <a:lnTo>
                    <a:pt x="0" y="258763"/>
                  </a:lnTo>
                  <a:cubicBezTo>
                    <a:pt x="0" y="258763"/>
                    <a:pt x="0" y="258763"/>
                    <a:pt x="0" y="11821"/>
                  </a:cubicBezTo>
                  <a:cubicBezTo>
                    <a:pt x="0" y="5254"/>
                    <a:pt x="5279" y="0"/>
                    <a:pt x="1187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7" name="iṧḻîḑé">
              <a:extLst>
                <a:ext uri="{FF2B5EF4-FFF2-40B4-BE49-F238E27FC236}">
                  <a16:creationId xmlns:a16="http://schemas.microsoft.com/office/drawing/2014/main" id="{9C5B7C17-FD3D-402F-93D8-CF17B1CBC66C}"/>
                </a:ext>
              </a:extLst>
            </p:cNvPr>
            <p:cNvSpPr txBox="1"/>
            <p:nvPr/>
          </p:nvSpPr>
          <p:spPr bwMode="auto">
            <a:xfrm>
              <a:off x="651058" y="3209061"/>
              <a:ext cx="3198473" cy="43308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前端开发及测试</a:t>
              </a:r>
              <a:endParaRPr lang="en-US" altLang="zh-CN" sz="2000" b="1" dirty="0"/>
            </a:p>
          </p:txBody>
        </p:sp>
        <p:sp>
          <p:nvSpPr>
            <p:cNvPr id="38" name="iṣḷïḓe">
              <a:extLst>
                <a:ext uri="{FF2B5EF4-FFF2-40B4-BE49-F238E27FC236}">
                  <a16:creationId xmlns:a16="http://schemas.microsoft.com/office/drawing/2014/main" id="{81B42F9B-FE29-42A4-A6AF-BE28572FE96F}"/>
                </a:ext>
              </a:extLst>
            </p:cNvPr>
            <p:cNvSpPr txBox="1"/>
            <p:nvPr/>
          </p:nvSpPr>
          <p:spPr bwMode="auto">
            <a:xfrm>
              <a:off x="8372647" y="3209061"/>
              <a:ext cx="3175137" cy="43988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 fontScale="925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/>
                <a:t>前端开发</a:t>
              </a:r>
              <a:endParaRPr lang="en-US" altLang="zh-CN" sz="2000" b="1" dirty="0"/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14F58D82-4EA6-468F-8147-81C40D9BBF4E}"/>
              </a:ext>
            </a:extLst>
          </p:cNvPr>
          <p:cNvSpPr/>
          <p:nvPr/>
        </p:nvSpPr>
        <p:spPr>
          <a:xfrm>
            <a:off x="4819648" y="1479609"/>
            <a:ext cx="1944384" cy="8679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dirty="0">
                <a:solidFill>
                  <a:schemeClr val="bg1"/>
                </a:solidFill>
              </a:rPr>
              <a:t>张鸿斌</a:t>
            </a:r>
            <a:endParaRPr lang="zh-CN" altLang="en-US" dirty="0"/>
          </a:p>
        </p:txBody>
      </p:sp>
      <p:sp>
        <p:nvSpPr>
          <p:cNvPr id="46" name="iṧḻîḑé">
            <a:extLst>
              <a:ext uri="{FF2B5EF4-FFF2-40B4-BE49-F238E27FC236}">
                <a16:creationId xmlns:a16="http://schemas.microsoft.com/office/drawing/2014/main" id="{6FAD820D-2F7C-496F-BFEE-7BE03C36FAC6}"/>
              </a:ext>
            </a:extLst>
          </p:cNvPr>
          <p:cNvSpPr txBox="1"/>
          <p:nvPr/>
        </p:nvSpPr>
        <p:spPr bwMode="auto">
          <a:xfrm>
            <a:off x="6509583" y="1455493"/>
            <a:ext cx="2568183" cy="85669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统筹规划</a:t>
            </a:r>
            <a:endParaRPr lang="en-US" altLang="zh-CN" sz="2000" b="1" dirty="0"/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模型构建</a:t>
            </a: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267778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技术路线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43251" y="27284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E12EADC-A2B9-44BB-9856-F40BFE14EB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641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30C8A00-848B-433A-BB1C-7AD3FBDC2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技术路线：</a:t>
            </a:r>
            <a:r>
              <a:rPr lang="en-US" altLang="zh-CN" sz="3200" dirty="0"/>
              <a:t>Java</a:t>
            </a:r>
            <a:r>
              <a:rPr lang="zh-CN" altLang="en-US" sz="3200" dirty="0"/>
              <a:t>语言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9227D39-3585-4717-A618-1D8AFC145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íśļïḑè">
            <a:extLst>
              <a:ext uri="{FF2B5EF4-FFF2-40B4-BE49-F238E27FC236}">
                <a16:creationId xmlns:a16="http://schemas.microsoft.com/office/drawing/2014/main" id="{5A5A3937-7E0E-4E8C-A0D6-D7D42AB69397}"/>
              </a:ext>
            </a:extLst>
          </p:cNvPr>
          <p:cNvSpPr/>
          <p:nvPr/>
        </p:nvSpPr>
        <p:spPr>
          <a:xfrm>
            <a:off x="668337" y="1981200"/>
            <a:ext cx="2084102" cy="2297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0"/>
                </a:moveTo>
                <a:cubicBezTo>
                  <a:pt x="631" y="0"/>
                  <a:pt x="0" y="391"/>
                  <a:pt x="0" y="873"/>
                </a:cubicBezTo>
                <a:lnTo>
                  <a:pt x="0" y="19208"/>
                </a:lnTo>
                <a:cubicBezTo>
                  <a:pt x="0" y="19690"/>
                  <a:pt x="631" y="20081"/>
                  <a:pt x="1408" y="20081"/>
                </a:cubicBezTo>
                <a:lnTo>
                  <a:pt x="9360" y="20081"/>
                </a:lnTo>
                <a:lnTo>
                  <a:pt x="10800" y="21600"/>
                </a:lnTo>
                <a:lnTo>
                  <a:pt x="12240" y="20081"/>
                </a:lnTo>
                <a:lnTo>
                  <a:pt x="20192" y="20081"/>
                </a:lnTo>
                <a:cubicBezTo>
                  <a:pt x="20969" y="20081"/>
                  <a:pt x="21600" y="19690"/>
                  <a:pt x="21600" y="19208"/>
                </a:cubicBezTo>
                <a:lnTo>
                  <a:pt x="21600" y="873"/>
                </a:lnTo>
                <a:cubicBezTo>
                  <a:pt x="21600" y="391"/>
                  <a:pt x="20969" y="0"/>
                  <a:pt x="20192" y="0"/>
                </a:cubicBezTo>
                <a:lnTo>
                  <a:pt x="140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</a:rPr>
              <a:t>前后端分离</a:t>
            </a:r>
            <a:endParaRPr sz="2800" b="1" dirty="0">
              <a:solidFill>
                <a:schemeClr val="bg1"/>
              </a:solidFill>
            </a:endParaRPr>
          </a:p>
        </p:txBody>
      </p:sp>
      <p:sp>
        <p:nvSpPr>
          <p:cNvPr id="8" name="íṧ1îde">
            <a:extLst>
              <a:ext uri="{FF2B5EF4-FFF2-40B4-BE49-F238E27FC236}">
                <a16:creationId xmlns:a16="http://schemas.microsoft.com/office/drawing/2014/main" id="{5CEE42AF-8913-4455-890F-83F51B697BBC}"/>
              </a:ext>
            </a:extLst>
          </p:cNvPr>
          <p:cNvSpPr txBox="1"/>
          <p:nvPr/>
        </p:nvSpPr>
        <p:spPr>
          <a:xfrm>
            <a:off x="0" y="4689659"/>
            <a:ext cx="2728005" cy="1234623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zh-CN" altLang="en-US" dirty="0"/>
              <a:t>后端：</a:t>
            </a:r>
            <a:r>
              <a:rPr lang="en-US" altLang="zh-CN" dirty="0" err="1"/>
              <a:t>SpringBoot</a:t>
            </a:r>
            <a:r>
              <a:rPr lang="en-US" altLang="zh-CN" dirty="0"/>
              <a:t> </a:t>
            </a:r>
            <a:r>
              <a:rPr lang="zh-CN" altLang="en-US" dirty="0"/>
              <a:t>框架</a:t>
            </a:r>
            <a:endParaRPr lang="en-US" altLang="zh-CN" dirty="0"/>
          </a:p>
          <a:p>
            <a:pPr algn="ctr"/>
            <a:endParaRPr lang="en-US" altLang="zh-CN" dirty="0"/>
          </a:p>
          <a:p>
            <a:pPr algn="ctr"/>
            <a:r>
              <a:rPr lang="zh-CN" altLang="en-US" dirty="0"/>
              <a:t>前端：</a:t>
            </a:r>
            <a:r>
              <a:rPr lang="en-US" altLang="zh-CN" dirty="0"/>
              <a:t>Vue.js</a:t>
            </a:r>
            <a:r>
              <a:rPr lang="zh-CN" altLang="en-US" dirty="0"/>
              <a:t>前端框架</a:t>
            </a:r>
          </a:p>
        </p:txBody>
      </p:sp>
      <p:sp>
        <p:nvSpPr>
          <p:cNvPr id="9" name="ï$ļîḋê">
            <a:extLst>
              <a:ext uri="{FF2B5EF4-FFF2-40B4-BE49-F238E27FC236}">
                <a16:creationId xmlns:a16="http://schemas.microsoft.com/office/drawing/2014/main" id="{61303E80-A48A-48BB-9464-990368518329}"/>
              </a:ext>
            </a:extLst>
          </p:cNvPr>
          <p:cNvSpPr/>
          <p:nvPr/>
        </p:nvSpPr>
        <p:spPr>
          <a:xfrm>
            <a:off x="2861937" y="1981200"/>
            <a:ext cx="2084102" cy="2297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0"/>
                </a:moveTo>
                <a:cubicBezTo>
                  <a:pt x="631" y="0"/>
                  <a:pt x="0" y="391"/>
                  <a:pt x="0" y="873"/>
                </a:cubicBezTo>
                <a:lnTo>
                  <a:pt x="0" y="19208"/>
                </a:lnTo>
                <a:cubicBezTo>
                  <a:pt x="0" y="19690"/>
                  <a:pt x="631" y="20081"/>
                  <a:pt x="1408" y="20081"/>
                </a:cubicBezTo>
                <a:lnTo>
                  <a:pt x="9360" y="20081"/>
                </a:lnTo>
                <a:lnTo>
                  <a:pt x="10800" y="21600"/>
                </a:lnTo>
                <a:lnTo>
                  <a:pt x="12240" y="20081"/>
                </a:lnTo>
                <a:lnTo>
                  <a:pt x="20192" y="20081"/>
                </a:lnTo>
                <a:cubicBezTo>
                  <a:pt x="20969" y="20081"/>
                  <a:pt x="21600" y="19690"/>
                  <a:pt x="21600" y="19208"/>
                </a:cubicBezTo>
                <a:lnTo>
                  <a:pt x="21600" y="873"/>
                </a:lnTo>
                <a:cubicBezTo>
                  <a:pt x="21600" y="391"/>
                  <a:pt x="20969" y="0"/>
                  <a:pt x="20192" y="0"/>
                </a:cubicBezTo>
                <a:lnTo>
                  <a:pt x="1408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</a:rPr>
              <a:t>MVC</a:t>
            </a:r>
            <a:r>
              <a:rPr lang="zh-CN" altLang="en-US" sz="2800" b="1" dirty="0">
                <a:solidFill>
                  <a:schemeClr val="bg1"/>
                </a:solidFill>
              </a:rPr>
              <a:t>框架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1" name="îŝļîḋê">
            <a:extLst>
              <a:ext uri="{FF2B5EF4-FFF2-40B4-BE49-F238E27FC236}">
                <a16:creationId xmlns:a16="http://schemas.microsoft.com/office/drawing/2014/main" id="{0A124F32-3786-4AC8-B182-5E1DE10FB5A5}"/>
              </a:ext>
            </a:extLst>
          </p:cNvPr>
          <p:cNvSpPr txBox="1"/>
          <p:nvPr/>
        </p:nvSpPr>
        <p:spPr>
          <a:xfrm>
            <a:off x="2867419" y="4639621"/>
            <a:ext cx="2084102" cy="2075209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algn="ctr"/>
            <a:r>
              <a:rPr lang="en-US" altLang="zh-CN" sz="1600" dirty="0"/>
              <a:t>Model</a:t>
            </a:r>
            <a:r>
              <a:rPr lang="zh-CN" altLang="en-US" sz="1600" dirty="0"/>
              <a:t>层交互数据库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/>
              <a:t>Controller</a:t>
            </a:r>
            <a:r>
              <a:rPr lang="zh-CN" altLang="en-US" sz="1600" dirty="0"/>
              <a:t>层联系网页视图，传递数据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/>
              <a:t>View</a:t>
            </a:r>
            <a:r>
              <a:rPr lang="zh-CN" altLang="en-US" sz="1600" dirty="0"/>
              <a:t>层渲染视图</a:t>
            </a:r>
          </a:p>
        </p:txBody>
      </p:sp>
      <p:sp>
        <p:nvSpPr>
          <p:cNvPr id="12" name="îṩḻiḓé">
            <a:extLst>
              <a:ext uri="{FF2B5EF4-FFF2-40B4-BE49-F238E27FC236}">
                <a16:creationId xmlns:a16="http://schemas.microsoft.com/office/drawing/2014/main" id="{2C45C459-636F-49D6-B935-1E14637E5B9C}"/>
              </a:ext>
            </a:extLst>
          </p:cNvPr>
          <p:cNvSpPr/>
          <p:nvPr/>
        </p:nvSpPr>
        <p:spPr>
          <a:xfrm>
            <a:off x="5055537" y="1981200"/>
            <a:ext cx="2084102" cy="2297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0"/>
                </a:moveTo>
                <a:cubicBezTo>
                  <a:pt x="631" y="0"/>
                  <a:pt x="0" y="391"/>
                  <a:pt x="0" y="873"/>
                </a:cubicBezTo>
                <a:lnTo>
                  <a:pt x="0" y="19208"/>
                </a:lnTo>
                <a:cubicBezTo>
                  <a:pt x="0" y="19690"/>
                  <a:pt x="631" y="20081"/>
                  <a:pt x="1408" y="20081"/>
                </a:cubicBezTo>
                <a:lnTo>
                  <a:pt x="9360" y="20081"/>
                </a:lnTo>
                <a:lnTo>
                  <a:pt x="10800" y="21600"/>
                </a:lnTo>
                <a:lnTo>
                  <a:pt x="12240" y="20081"/>
                </a:lnTo>
                <a:lnTo>
                  <a:pt x="20192" y="20081"/>
                </a:lnTo>
                <a:cubicBezTo>
                  <a:pt x="20969" y="20081"/>
                  <a:pt x="21600" y="19690"/>
                  <a:pt x="21600" y="19208"/>
                </a:cubicBezTo>
                <a:lnTo>
                  <a:pt x="21600" y="873"/>
                </a:lnTo>
                <a:cubicBezTo>
                  <a:pt x="21600" y="391"/>
                  <a:pt x="20969" y="0"/>
                  <a:pt x="20192" y="0"/>
                </a:cubicBezTo>
                <a:lnTo>
                  <a:pt x="1408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/>
          <a:p>
            <a:pPr algn="ctr"/>
            <a:r>
              <a:rPr lang="en-US" altLang="zh-CN" sz="2800" b="1" dirty="0">
                <a:solidFill>
                  <a:schemeClr val="lt1"/>
                </a:solidFill>
              </a:rPr>
              <a:t>MySQL</a:t>
            </a:r>
          </a:p>
          <a:p>
            <a:pPr algn="ctr"/>
            <a:r>
              <a:rPr lang="zh-CN" altLang="en-US" sz="2800" b="1" dirty="0">
                <a:solidFill>
                  <a:schemeClr val="lt1"/>
                </a:solidFill>
              </a:rPr>
              <a:t>数据库</a:t>
            </a:r>
            <a:endParaRPr lang="en-US" altLang="zh-CN" sz="2800" b="1" dirty="0">
              <a:solidFill>
                <a:schemeClr val="lt1"/>
              </a:solidFill>
            </a:endParaRPr>
          </a:p>
        </p:txBody>
      </p:sp>
      <p:sp>
        <p:nvSpPr>
          <p:cNvPr id="14" name="işliďè">
            <a:extLst>
              <a:ext uri="{FF2B5EF4-FFF2-40B4-BE49-F238E27FC236}">
                <a16:creationId xmlns:a16="http://schemas.microsoft.com/office/drawing/2014/main" id="{8C91D7FA-BCFC-4AEF-A74B-3842B149806C}"/>
              </a:ext>
            </a:extLst>
          </p:cNvPr>
          <p:cNvSpPr txBox="1"/>
          <p:nvPr/>
        </p:nvSpPr>
        <p:spPr>
          <a:xfrm>
            <a:off x="5079972" y="4689659"/>
            <a:ext cx="2035233" cy="1311896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en-US" altLang="zh-CN" sz="1600" dirty="0"/>
              <a:t>MyBatis</a:t>
            </a:r>
            <a:r>
              <a:rPr lang="zh-CN" altLang="en-US" sz="1600" dirty="0"/>
              <a:t>持久层框架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/>
              <a:t>MySQL</a:t>
            </a:r>
            <a:r>
              <a:rPr lang="zh-CN" altLang="en-US" sz="1600" dirty="0"/>
              <a:t>数据库</a:t>
            </a:r>
          </a:p>
        </p:txBody>
      </p:sp>
      <p:sp>
        <p:nvSpPr>
          <p:cNvPr id="15" name="íşḻîḍè">
            <a:extLst>
              <a:ext uri="{FF2B5EF4-FFF2-40B4-BE49-F238E27FC236}">
                <a16:creationId xmlns:a16="http://schemas.microsoft.com/office/drawing/2014/main" id="{8798AB68-8A8E-4CC5-9782-96EBA9FD6A61}"/>
              </a:ext>
            </a:extLst>
          </p:cNvPr>
          <p:cNvSpPr/>
          <p:nvPr/>
        </p:nvSpPr>
        <p:spPr>
          <a:xfrm>
            <a:off x="9442735" y="1981200"/>
            <a:ext cx="2084102" cy="2297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0"/>
                </a:moveTo>
                <a:cubicBezTo>
                  <a:pt x="631" y="0"/>
                  <a:pt x="0" y="391"/>
                  <a:pt x="0" y="873"/>
                </a:cubicBezTo>
                <a:lnTo>
                  <a:pt x="0" y="19208"/>
                </a:lnTo>
                <a:cubicBezTo>
                  <a:pt x="0" y="19690"/>
                  <a:pt x="631" y="20081"/>
                  <a:pt x="1408" y="20081"/>
                </a:cubicBezTo>
                <a:lnTo>
                  <a:pt x="9360" y="20081"/>
                </a:lnTo>
                <a:lnTo>
                  <a:pt x="10800" y="21600"/>
                </a:lnTo>
                <a:lnTo>
                  <a:pt x="12240" y="20081"/>
                </a:lnTo>
                <a:lnTo>
                  <a:pt x="20192" y="20081"/>
                </a:lnTo>
                <a:cubicBezTo>
                  <a:pt x="20969" y="20081"/>
                  <a:pt x="21600" y="19690"/>
                  <a:pt x="21600" y="19208"/>
                </a:cubicBezTo>
                <a:lnTo>
                  <a:pt x="21600" y="873"/>
                </a:lnTo>
                <a:cubicBezTo>
                  <a:pt x="21600" y="391"/>
                  <a:pt x="20969" y="0"/>
                  <a:pt x="20192" y="0"/>
                </a:cubicBezTo>
                <a:lnTo>
                  <a:pt x="1408" y="0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r>
              <a:rPr lang="en-US" altLang="zh-CN" sz="2800" b="1" dirty="0">
                <a:solidFill>
                  <a:schemeClr val="bg1"/>
                </a:solidFill>
              </a:rPr>
              <a:t>IDEA</a:t>
            </a:r>
            <a:r>
              <a:rPr lang="zh-CN" altLang="en-US" sz="2800" b="1" dirty="0">
                <a:solidFill>
                  <a:schemeClr val="bg1"/>
                </a:solidFill>
              </a:rPr>
              <a:t>环境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7" name="íṣļidé">
            <a:extLst>
              <a:ext uri="{FF2B5EF4-FFF2-40B4-BE49-F238E27FC236}">
                <a16:creationId xmlns:a16="http://schemas.microsoft.com/office/drawing/2014/main" id="{CCA452B0-9779-4125-9A81-55498A02F7A2}"/>
              </a:ext>
            </a:extLst>
          </p:cNvPr>
          <p:cNvSpPr txBox="1"/>
          <p:nvPr/>
        </p:nvSpPr>
        <p:spPr>
          <a:xfrm>
            <a:off x="9467170" y="4689659"/>
            <a:ext cx="2035233" cy="1685974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en-US" altLang="zh-CN" sz="1600" dirty="0"/>
              <a:t>IntelliJ IDEA</a:t>
            </a:r>
            <a:r>
              <a:rPr lang="zh-CN" altLang="en-US" sz="1600" dirty="0"/>
              <a:t> 集成开发环境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/>
              <a:t>Git</a:t>
            </a:r>
            <a:r>
              <a:rPr lang="zh-CN" altLang="en-US" sz="1600" dirty="0"/>
              <a:t>版本控制系统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 err="1"/>
              <a:t>Gitee</a:t>
            </a:r>
            <a:r>
              <a:rPr lang="en-US" altLang="zh-CN" sz="1600" dirty="0"/>
              <a:t> </a:t>
            </a:r>
            <a:r>
              <a:rPr lang="zh-CN" altLang="en-US" sz="1600" dirty="0"/>
              <a:t>作为远程仓库</a:t>
            </a: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EC1074B1-BFBD-407D-B69E-C47623870EFD}"/>
              </a:ext>
            </a:extLst>
          </p:cNvPr>
          <p:cNvCxnSpPr/>
          <p:nvPr/>
        </p:nvCxnSpPr>
        <p:spPr>
          <a:xfrm>
            <a:off x="2807188" y="4762500"/>
            <a:ext cx="0" cy="13716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B8DA37B5-6B3E-4D48-B052-485024D0C7C4}"/>
              </a:ext>
            </a:extLst>
          </p:cNvPr>
          <p:cNvCxnSpPr/>
          <p:nvPr/>
        </p:nvCxnSpPr>
        <p:spPr>
          <a:xfrm>
            <a:off x="5000788" y="4762500"/>
            <a:ext cx="0" cy="13716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226ED9E2-F415-4246-8301-358271B275C8}"/>
              </a:ext>
            </a:extLst>
          </p:cNvPr>
          <p:cNvCxnSpPr/>
          <p:nvPr/>
        </p:nvCxnSpPr>
        <p:spPr>
          <a:xfrm>
            <a:off x="7194388" y="4762500"/>
            <a:ext cx="0" cy="13716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íŝľiḓe">
            <a:extLst>
              <a:ext uri="{FF2B5EF4-FFF2-40B4-BE49-F238E27FC236}">
                <a16:creationId xmlns:a16="http://schemas.microsoft.com/office/drawing/2014/main" id="{F9114C10-F4CF-4E10-8EE9-A3C647015ED8}"/>
              </a:ext>
            </a:extLst>
          </p:cNvPr>
          <p:cNvSpPr/>
          <p:nvPr/>
        </p:nvSpPr>
        <p:spPr>
          <a:xfrm>
            <a:off x="7249137" y="1981200"/>
            <a:ext cx="2084102" cy="2297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0"/>
                </a:moveTo>
                <a:cubicBezTo>
                  <a:pt x="631" y="0"/>
                  <a:pt x="0" y="391"/>
                  <a:pt x="0" y="873"/>
                </a:cubicBezTo>
                <a:lnTo>
                  <a:pt x="0" y="19208"/>
                </a:lnTo>
                <a:cubicBezTo>
                  <a:pt x="0" y="19690"/>
                  <a:pt x="631" y="20081"/>
                  <a:pt x="1408" y="20081"/>
                </a:cubicBezTo>
                <a:lnTo>
                  <a:pt x="9360" y="20081"/>
                </a:lnTo>
                <a:lnTo>
                  <a:pt x="10800" y="21600"/>
                </a:lnTo>
                <a:lnTo>
                  <a:pt x="12240" y="20081"/>
                </a:lnTo>
                <a:lnTo>
                  <a:pt x="20192" y="20081"/>
                </a:lnTo>
                <a:cubicBezTo>
                  <a:pt x="20969" y="20081"/>
                  <a:pt x="21600" y="19690"/>
                  <a:pt x="21600" y="19208"/>
                </a:cubicBezTo>
                <a:lnTo>
                  <a:pt x="21600" y="873"/>
                </a:lnTo>
                <a:cubicBezTo>
                  <a:pt x="21600" y="391"/>
                  <a:pt x="20969" y="0"/>
                  <a:pt x="20192" y="0"/>
                </a:cubicBezTo>
                <a:lnTo>
                  <a:pt x="1408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Spring Boot</a:t>
            </a:r>
          </a:p>
          <a:p>
            <a:pPr algn="ctr"/>
            <a:r>
              <a:rPr lang="zh-CN" altLang="en-US" sz="2400" b="1" dirty="0">
                <a:solidFill>
                  <a:schemeClr val="bg1"/>
                </a:solidFill>
              </a:rPr>
              <a:t>开发框架</a:t>
            </a:r>
            <a:endParaRPr lang="en-US" altLang="zh-CN" sz="2400" b="1" dirty="0">
              <a:solidFill>
                <a:schemeClr val="bg1"/>
              </a:solidFill>
            </a:endParaRPr>
          </a:p>
        </p:txBody>
      </p:sp>
      <p:sp>
        <p:nvSpPr>
          <p:cNvPr id="23" name="iṡḻiḋè">
            <a:extLst>
              <a:ext uri="{FF2B5EF4-FFF2-40B4-BE49-F238E27FC236}">
                <a16:creationId xmlns:a16="http://schemas.microsoft.com/office/drawing/2014/main" id="{A0EE34BE-9564-403E-A552-1CB040B8794F}"/>
              </a:ext>
            </a:extLst>
          </p:cNvPr>
          <p:cNvSpPr txBox="1"/>
          <p:nvPr/>
        </p:nvSpPr>
        <p:spPr>
          <a:xfrm>
            <a:off x="7244940" y="4764249"/>
            <a:ext cx="2084101" cy="1757185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/>
            <a:r>
              <a:rPr lang="en-US" altLang="zh-CN" sz="1600" dirty="0"/>
              <a:t>Spring Boot</a:t>
            </a:r>
            <a:r>
              <a:rPr lang="zh-CN" altLang="en-US" sz="1600" dirty="0"/>
              <a:t>开发框架</a:t>
            </a:r>
            <a:endParaRPr lang="en-US" altLang="zh-CN" sz="1600" dirty="0"/>
          </a:p>
          <a:p>
            <a:pPr algn="ctr"/>
            <a:endParaRPr lang="en-US" altLang="zh-CN" sz="1600" dirty="0"/>
          </a:p>
          <a:p>
            <a:pPr algn="ctr"/>
            <a:r>
              <a:rPr lang="en-US" altLang="zh-CN" sz="1600" dirty="0"/>
              <a:t>JUnit</a:t>
            </a:r>
            <a:r>
              <a:rPr lang="zh-CN" altLang="en-US" sz="1600" dirty="0"/>
              <a:t>单元测试框架</a:t>
            </a:r>
            <a:endParaRPr lang="en-US" altLang="zh-CN" sz="1600" dirty="0"/>
          </a:p>
          <a:p>
            <a:pPr algn="ctr"/>
            <a:endParaRPr lang="en-US" altLang="zh-CN" dirty="0"/>
          </a:p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BEA6BDBB-2EC1-4379-85DE-FD8D4787B656}"/>
              </a:ext>
            </a:extLst>
          </p:cNvPr>
          <p:cNvCxnSpPr/>
          <p:nvPr/>
        </p:nvCxnSpPr>
        <p:spPr>
          <a:xfrm>
            <a:off x="9387988" y="4762500"/>
            <a:ext cx="0" cy="13716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š1îḑê">
            <a:extLst>
              <a:ext uri="{FF2B5EF4-FFF2-40B4-BE49-F238E27FC236}">
                <a16:creationId xmlns:a16="http://schemas.microsoft.com/office/drawing/2014/main" id="{9D7862D5-F159-408B-B1DA-55026150048B}"/>
              </a:ext>
            </a:extLst>
          </p:cNvPr>
          <p:cNvSpPr/>
          <p:nvPr/>
        </p:nvSpPr>
        <p:spPr bwMode="auto">
          <a:xfrm>
            <a:off x="5511188" y="1235751"/>
            <a:ext cx="1192824" cy="1192824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2"/>
            </a:solidFill>
          </a:ln>
          <a:effectLst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3200"/>
          </a:p>
        </p:txBody>
      </p:sp>
      <p:grpSp>
        <p:nvGrpSpPr>
          <p:cNvPr id="26" name="îṡḻîďe">
            <a:extLst>
              <a:ext uri="{FF2B5EF4-FFF2-40B4-BE49-F238E27FC236}">
                <a16:creationId xmlns:a16="http://schemas.microsoft.com/office/drawing/2014/main" id="{FD977F42-4453-480A-A987-ABD223A567F8}"/>
              </a:ext>
            </a:extLst>
          </p:cNvPr>
          <p:cNvGrpSpPr/>
          <p:nvPr/>
        </p:nvGrpSpPr>
        <p:grpSpPr>
          <a:xfrm>
            <a:off x="3307105" y="1386836"/>
            <a:ext cx="1188720" cy="1188720"/>
            <a:chOff x="5595704" y="2411685"/>
            <a:chExt cx="971552" cy="971552"/>
          </a:xfrm>
        </p:grpSpPr>
        <p:sp>
          <p:nvSpPr>
            <p:cNvPr id="36" name="îşḻîďe">
              <a:extLst>
                <a:ext uri="{FF2B5EF4-FFF2-40B4-BE49-F238E27FC236}">
                  <a16:creationId xmlns:a16="http://schemas.microsoft.com/office/drawing/2014/main" id="{E2CBF8E0-BDA8-45C8-97BB-67D3A8E3965F}"/>
                </a:ext>
              </a:extLst>
            </p:cNvPr>
            <p:cNvSpPr/>
            <p:nvPr/>
          </p:nvSpPr>
          <p:spPr bwMode="auto">
            <a:xfrm>
              <a:off x="5595704" y="2411685"/>
              <a:ext cx="971552" cy="9715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3200"/>
            </a:p>
          </p:txBody>
        </p:sp>
        <p:sp>
          <p:nvSpPr>
            <p:cNvPr id="37" name="iṩ1ïḍè">
              <a:extLst>
                <a:ext uri="{FF2B5EF4-FFF2-40B4-BE49-F238E27FC236}">
                  <a16:creationId xmlns:a16="http://schemas.microsoft.com/office/drawing/2014/main" id="{3C38F76B-8A69-4655-AB45-4B3B4EFC6911}"/>
                </a:ext>
              </a:extLst>
            </p:cNvPr>
            <p:cNvSpPr/>
            <p:nvPr/>
          </p:nvSpPr>
          <p:spPr bwMode="auto">
            <a:xfrm>
              <a:off x="5909241" y="2710969"/>
              <a:ext cx="373523" cy="372981"/>
            </a:xfrm>
            <a:custGeom>
              <a:avLst/>
              <a:gdLst>
                <a:gd name="T0" fmla="*/ 6270 w 7104"/>
                <a:gd name="T1" fmla="*/ 835 h 7104"/>
                <a:gd name="T2" fmla="*/ 3243 w 7104"/>
                <a:gd name="T3" fmla="*/ 835 h 7104"/>
                <a:gd name="T4" fmla="*/ 3076 w 7104"/>
                <a:gd name="T5" fmla="*/ 3675 h 7104"/>
                <a:gd name="T6" fmla="*/ 2661 w 7104"/>
                <a:gd name="T7" fmla="*/ 4091 h 7104"/>
                <a:gd name="T8" fmla="*/ 2516 w 7104"/>
                <a:gd name="T9" fmla="*/ 3946 h 7104"/>
                <a:gd name="T10" fmla="*/ 2163 w 7104"/>
                <a:gd name="T11" fmla="*/ 3946 h 7104"/>
                <a:gd name="T12" fmla="*/ 275 w 7104"/>
                <a:gd name="T13" fmla="*/ 5834 h 7104"/>
                <a:gd name="T14" fmla="*/ 275 w 7104"/>
                <a:gd name="T15" fmla="*/ 6829 h 7104"/>
                <a:gd name="T16" fmla="*/ 1271 w 7104"/>
                <a:gd name="T17" fmla="*/ 6829 h 7104"/>
                <a:gd name="T18" fmla="*/ 3158 w 7104"/>
                <a:gd name="T19" fmla="*/ 4942 h 7104"/>
                <a:gd name="T20" fmla="*/ 3158 w 7104"/>
                <a:gd name="T21" fmla="*/ 4588 h 7104"/>
                <a:gd name="T22" fmla="*/ 3014 w 7104"/>
                <a:gd name="T23" fmla="*/ 4444 h 7104"/>
                <a:gd name="T24" fmla="*/ 3430 w 7104"/>
                <a:gd name="T25" fmla="*/ 4028 h 7104"/>
                <a:gd name="T26" fmla="*/ 6270 w 7104"/>
                <a:gd name="T27" fmla="*/ 3862 h 7104"/>
                <a:gd name="T28" fmla="*/ 6270 w 7104"/>
                <a:gd name="T29" fmla="*/ 835 h 7104"/>
                <a:gd name="T30" fmla="*/ 5497 w 7104"/>
                <a:gd name="T31" fmla="*/ 2856 h 7104"/>
                <a:gd name="T32" fmla="*/ 5497 w 7104"/>
                <a:gd name="T33" fmla="*/ 3356 h 7104"/>
                <a:gd name="T34" fmla="*/ 5247 w 7104"/>
                <a:gd name="T35" fmla="*/ 3606 h 7104"/>
                <a:gd name="T36" fmla="*/ 4248 w 7104"/>
                <a:gd name="T37" fmla="*/ 3606 h 7104"/>
                <a:gd name="T38" fmla="*/ 3999 w 7104"/>
                <a:gd name="T39" fmla="*/ 3356 h 7104"/>
                <a:gd name="T40" fmla="*/ 3999 w 7104"/>
                <a:gd name="T41" fmla="*/ 2856 h 7104"/>
                <a:gd name="T42" fmla="*/ 4198 w 7104"/>
                <a:gd name="T43" fmla="*/ 2348 h 7104"/>
                <a:gd name="T44" fmla="*/ 4748 w 7104"/>
                <a:gd name="T45" fmla="*/ 1091 h 7104"/>
                <a:gd name="T46" fmla="*/ 5298 w 7104"/>
                <a:gd name="T47" fmla="*/ 2348 h 7104"/>
                <a:gd name="T48" fmla="*/ 5497 w 7104"/>
                <a:gd name="T49" fmla="*/ 2856 h 7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04" h="7104">
                  <a:moveTo>
                    <a:pt x="6270" y="835"/>
                  </a:moveTo>
                  <a:cubicBezTo>
                    <a:pt x="5435" y="0"/>
                    <a:pt x="4077" y="0"/>
                    <a:pt x="3243" y="835"/>
                  </a:cubicBezTo>
                  <a:cubicBezTo>
                    <a:pt x="2468" y="1610"/>
                    <a:pt x="2412" y="2836"/>
                    <a:pt x="3076" y="3675"/>
                  </a:cubicBezTo>
                  <a:lnTo>
                    <a:pt x="2661" y="4091"/>
                  </a:lnTo>
                  <a:lnTo>
                    <a:pt x="2516" y="3946"/>
                  </a:lnTo>
                  <a:cubicBezTo>
                    <a:pt x="2419" y="3849"/>
                    <a:pt x="2261" y="3849"/>
                    <a:pt x="2163" y="3946"/>
                  </a:cubicBezTo>
                  <a:lnTo>
                    <a:pt x="275" y="5834"/>
                  </a:lnTo>
                  <a:cubicBezTo>
                    <a:pt x="0" y="6109"/>
                    <a:pt x="0" y="6554"/>
                    <a:pt x="275" y="6829"/>
                  </a:cubicBezTo>
                  <a:cubicBezTo>
                    <a:pt x="550" y="7104"/>
                    <a:pt x="996" y="7104"/>
                    <a:pt x="1271" y="6829"/>
                  </a:cubicBezTo>
                  <a:lnTo>
                    <a:pt x="3158" y="4942"/>
                  </a:lnTo>
                  <a:cubicBezTo>
                    <a:pt x="3256" y="4844"/>
                    <a:pt x="3256" y="4686"/>
                    <a:pt x="3158" y="4588"/>
                  </a:cubicBezTo>
                  <a:lnTo>
                    <a:pt x="3014" y="4444"/>
                  </a:lnTo>
                  <a:lnTo>
                    <a:pt x="3430" y="4028"/>
                  </a:lnTo>
                  <a:cubicBezTo>
                    <a:pt x="4269" y="4692"/>
                    <a:pt x="5495" y="4637"/>
                    <a:pt x="6270" y="3862"/>
                  </a:cubicBezTo>
                  <a:cubicBezTo>
                    <a:pt x="7104" y="3027"/>
                    <a:pt x="7104" y="1670"/>
                    <a:pt x="6270" y="835"/>
                  </a:cubicBezTo>
                  <a:close/>
                  <a:moveTo>
                    <a:pt x="5497" y="2856"/>
                  </a:moveTo>
                  <a:lnTo>
                    <a:pt x="5497" y="3356"/>
                  </a:lnTo>
                  <a:cubicBezTo>
                    <a:pt x="5497" y="3494"/>
                    <a:pt x="5385" y="3606"/>
                    <a:pt x="5247" y="3606"/>
                  </a:cubicBezTo>
                  <a:lnTo>
                    <a:pt x="4248" y="3606"/>
                  </a:lnTo>
                  <a:cubicBezTo>
                    <a:pt x="4110" y="3606"/>
                    <a:pt x="3999" y="3494"/>
                    <a:pt x="3999" y="3356"/>
                  </a:cubicBezTo>
                  <a:lnTo>
                    <a:pt x="3999" y="2856"/>
                  </a:lnTo>
                  <a:cubicBezTo>
                    <a:pt x="3999" y="2660"/>
                    <a:pt x="4074" y="2482"/>
                    <a:pt x="4198" y="2348"/>
                  </a:cubicBezTo>
                  <a:cubicBezTo>
                    <a:pt x="3757" y="1871"/>
                    <a:pt x="4095" y="1091"/>
                    <a:pt x="4748" y="1091"/>
                  </a:cubicBezTo>
                  <a:cubicBezTo>
                    <a:pt x="5400" y="1091"/>
                    <a:pt x="5739" y="1871"/>
                    <a:pt x="5298" y="2348"/>
                  </a:cubicBezTo>
                  <a:cubicBezTo>
                    <a:pt x="5422" y="2482"/>
                    <a:pt x="5497" y="2660"/>
                    <a:pt x="5497" y="28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34" name="îSḷíḍê">
            <a:extLst>
              <a:ext uri="{FF2B5EF4-FFF2-40B4-BE49-F238E27FC236}">
                <a16:creationId xmlns:a16="http://schemas.microsoft.com/office/drawing/2014/main" id="{9A4A70FE-8565-4EEF-BA75-99B89ED28C0C}"/>
              </a:ext>
            </a:extLst>
          </p:cNvPr>
          <p:cNvSpPr/>
          <p:nvPr/>
        </p:nvSpPr>
        <p:spPr bwMode="auto">
          <a:xfrm>
            <a:off x="1177886" y="1386836"/>
            <a:ext cx="1188720" cy="118872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2"/>
            </a:solidFill>
          </a:ln>
          <a:effectLst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3200"/>
          </a:p>
        </p:txBody>
      </p:sp>
      <p:sp>
        <p:nvSpPr>
          <p:cNvPr id="35" name="í$ľide">
            <a:extLst>
              <a:ext uri="{FF2B5EF4-FFF2-40B4-BE49-F238E27FC236}">
                <a16:creationId xmlns:a16="http://schemas.microsoft.com/office/drawing/2014/main" id="{82435E97-3771-4CBD-B2EC-851A8CE255F4}"/>
              </a:ext>
            </a:extLst>
          </p:cNvPr>
          <p:cNvSpPr/>
          <p:nvPr/>
        </p:nvSpPr>
        <p:spPr bwMode="auto">
          <a:xfrm>
            <a:off x="1561507" y="1753028"/>
            <a:ext cx="457015" cy="456334"/>
          </a:xfrm>
          <a:custGeom>
            <a:avLst/>
            <a:gdLst>
              <a:gd name="connsiteX0" fmla="*/ 518958 w 607627"/>
              <a:gd name="connsiteY0" fmla="*/ 480339 h 606722"/>
              <a:gd name="connsiteX1" fmla="*/ 569613 w 607627"/>
              <a:gd name="connsiteY1" fmla="*/ 480339 h 606722"/>
              <a:gd name="connsiteX2" fmla="*/ 607627 w 607627"/>
              <a:gd name="connsiteY2" fmla="*/ 518201 h 606722"/>
              <a:gd name="connsiteX3" fmla="*/ 607627 w 607627"/>
              <a:gd name="connsiteY3" fmla="*/ 568772 h 606722"/>
              <a:gd name="connsiteX4" fmla="*/ 569613 w 607627"/>
              <a:gd name="connsiteY4" fmla="*/ 606722 h 606722"/>
              <a:gd name="connsiteX5" fmla="*/ 518958 w 607627"/>
              <a:gd name="connsiteY5" fmla="*/ 606722 h 606722"/>
              <a:gd name="connsiteX6" fmla="*/ 481033 w 607627"/>
              <a:gd name="connsiteY6" fmla="*/ 568772 h 606722"/>
              <a:gd name="connsiteX7" fmla="*/ 481033 w 607627"/>
              <a:gd name="connsiteY7" fmla="*/ 518201 h 606722"/>
              <a:gd name="connsiteX8" fmla="*/ 518958 w 607627"/>
              <a:gd name="connsiteY8" fmla="*/ 480339 h 606722"/>
              <a:gd name="connsiteX9" fmla="*/ 518958 w 607627"/>
              <a:gd name="connsiteY9" fmla="*/ 252836 h 606722"/>
              <a:gd name="connsiteX10" fmla="*/ 569613 w 607627"/>
              <a:gd name="connsiteY10" fmla="*/ 252836 h 606722"/>
              <a:gd name="connsiteX11" fmla="*/ 607627 w 607627"/>
              <a:gd name="connsiteY11" fmla="*/ 290698 h 606722"/>
              <a:gd name="connsiteX12" fmla="*/ 607627 w 607627"/>
              <a:gd name="connsiteY12" fmla="*/ 341269 h 606722"/>
              <a:gd name="connsiteX13" fmla="*/ 569613 w 607627"/>
              <a:gd name="connsiteY13" fmla="*/ 379219 h 606722"/>
              <a:gd name="connsiteX14" fmla="*/ 518958 w 607627"/>
              <a:gd name="connsiteY14" fmla="*/ 379219 h 606722"/>
              <a:gd name="connsiteX15" fmla="*/ 481033 w 607627"/>
              <a:gd name="connsiteY15" fmla="*/ 341269 h 606722"/>
              <a:gd name="connsiteX16" fmla="*/ 481033 w 607627"/>
              <a:gd name="connsiteY16" fmla="*/ 290698 h 606722"/>
              <a:gd name="connsiteX17" fmla="*/ 518958 w 607627"/>
              <a:gd name="connsiteY17" fmla="*/ 252836 h 606722"/>
              <a:gd name="connsiteX18" fmla="*/ 81603 w 607627"/>
              <a:gd name="connsiteY18" fmla="*/ 151716 h 606722"/>
              <a:gd name="connsiteX19" fmla="*/ 146211 w 607627"/>
              <a:gd name="connsiteY19" fmla="*/ 151716 h 606722"/>
              <a:gd name="connsiteX20" fmla="*/ 210819 w 607627"/>
              <a:gd name="connsiteY20" fmla="*/ 213124 h 606722"/>
              <a:gd name="connsiteX21" fmla="*/ 227549 w 607627"/>
              <a:gd name="connsiteY21" fmla="*/ 359935 h 606722"/>
              <a:gd name="connsiteX22" fmla="*/ 217137 w 607627"/>
              <a:gd name="connsiteY22" fmla="*/ 393349 h 606722"/>
              <a:gd name="connsiteX23" fmla="*/ 191152 w 607627"/>
              <a:gd name="connsiteY23" fmla="*/ 406146 h 606722"/>
              <a:gd name="connsiteX24" fmla="*/ 177180 w 607627"/>
              <a:gd name="connsiteY24" fmla="*/ 594992 h 606722"/>
              <a:gd name="connsiteX25" fmla="*/ 164543 w 607627"/>
              <a:gd name="connsiteY25" fmla="*/ 606722 h 606722"/>
              <a:gd name="connsiteX26" fmla="*/ 63271 w 607627"/>
              <a:gd name="connsiteY26" fmla="*/ 606722 h 606722"/>
              <a:gd name="connsiteX27" fmla="*/ 50634 w 607627"/>
              <a:gd name="connsiteY27" fmla="*/ 594992 h 606722"/>
              <a:gd name="connsiteX28" fmla="*/ 36662 w 607627"/>
              <a:gd name="connsiteY28" fmla="*/ 406146 h 606722"/>
              <a:gd name="connsiteX29" fmla="*/ 10677 w 607627"/>
              <a:gd name="connsiteY29" fmla="*/ 393349 h 606722"/>
              <a:gd name="connsiteX30" fmla="*/ 265 w 607627"/>
              <a:gd name="connsiteY30" fmla="*/ 359935 h 606722"/>
              <a:gd name="connsiteX31" fmla="*/ 17084 w 607627"/>
              <a:gd name="connsiteY31" fmla="*/ 213124 h 606722"/>
              <a:gd name="connsiteX32" fmla="*/ 81603 w 607627"/>
              <a:gd name="connsiteY32" fmla="*/ 151716 h 606722"/>
              <a:gd name="connsiteX33" fmla="*/ 392406 w 607627"/>
              <a:gd name="connsiteY33" fmla="*/ 75787 h 606722"/>
              <a:gd name="connsiteX34" fmla="*/ 443059 w 607627"/>
              <a:gd name="connsiteY34" fmla="*/ 75787 h 606722"/>
              <a:gd name="connsiteX35" fmla="*/ 455700 w 607627"/>
              <a:gd name="connsiteY35" fmla="*/ 88497 h 606722"/>
              <a:gd name="connsiteX36" fmla="*/ 443059 w 607627"/>
              <a:gd name="connsiteY36" fmla="*/ 101119 h 606722"/>
              <a:gd name="connsiteX37" fmla="*/ 392406 w 607627"/>
              <a:gd name="connsiteY37" fmla="*/ 101119 h 606722"/>
              <a:gd name="connsiteX38" fmla="*/ 354483 w 607627"/>
              <a:gd name="connsiteY38" fmla="*/ 139072 h 606722"/>
              <a:gd name="connsiteX39" fmla="*/ 354483 w 607627"/>
              <a:gd name="connsiteY39" fmla="*/ 303326 h 606722"/>
              <a:gd name="connsiteX40" fmla="*/ 443059 w 607627"/>
              <a:gd name="connsiteY40" fmla="*/ 303326 h 606722"/>
              <a:gd name="connsiteX41" fmla="*/ 455700 w 607627"/>
              <a:gd name="connsiteY41" fmla="*/ 316037 h 606722"/>
              <a:gd name="connsiteX42" fmla="*/ 443059 w 607627"/>
              <a:gd name="connsiteY42" fmla="*/ 328658 h 606722"/>
              <a:gd name="connsiteX43" fmla="*/ 354483 w 607627"/>
              <a:gd name="connsiteY43" fmla="*/ 328658 h 606722"/>
              <a:gd name="connsiteX44" fmla="*/ 354483 w 607627"/>
              <a:gd name="connsiteY44" fmla="*/ 493002 h 606722"/>
              <a:gd name="connsiteX45" fmla="*/ 392406 w 607627"/>
              <a:gd name="connsiteY45" fmla="*/ 530866 h 606722"/>
              <a:gd name="connsiteX46" fmla="*/ 443059 w 607627"/>
              <a:gd name="connsiteY46" fmla="*/ 530866 h 606722"/>
              <a:gd name="connsiteX47" fmla="*/ 455700 w 607627"/>
              <a:gd name="connsiteY47" fmla="*/ 543576 h 606722"/>
              <a:gd name="connsiteX48" fmla="*/ 443059 w 607627"/>
              <a:gd name="connsiteY48" fmla="*/ 556197 h 606722"/>
              <a:gd name="connsiteX49" fmla="*/ 392406 w 607627"/>
              <a:gd name="connsiteY49" fmla="*/ 556197 h 606722"/>
              <a:gd name="connsiteX50" fmla="*/ 329112 w 607627"/>
              <a:gd name="connsiteY50" fmla="*/ 493002 h 606722"/>
              <a:gd name="connsiteX51" fmla="*/ 329112 w 607627"/>
              <a:gd name="connsiteY51" fmla="*/ 328658 h 606722"/>
              <a:gd name="connsiteX52" fmla="*/ 265818 w 607627"/>
              <a:gd name="connsiteY52" fmla="*/ 328658 h 606722"/>
              <a:gd name="connsiteX53" fmla="*/ 253177 w 607627"/>
              <a:gd name="connsiteY53" fmla="*/ 316037 h 606722"/>
              <a:gd name="connsiteX54" fmla="*/ 265818 w 607627"/>
              <a:gd name="connsiteY54" fmla="*/ 303326 h 606722"/>
              <a:gd name="connsiteX55" fmla="*/ 329112 w 607627"/>
              <a:gd name="connsiteY55" fmla="*/ 303326 h 606722"/>
              <a:gd name="connsiteX56" fmla="*/ 329112 w 607627"/>
              <a:gd name="connsiteY56" fmla="*/ 139072 h 606722"/>
              <a:gd name="connsiteX57" fmla="*/ 392406 w 607627"/>
              <a:gd name="connsiteY57" fmla="*/ 75787 h 606722"/>
              <a:gd name="connsiteX58" fmla="*/ 518958 w 607627"/>
              <a:gd name="connsiteY58" fmla="*/ 25333 h 606722"/>
              <a:gd name="connsiteX59" fmla="*/ 569613 w 607627"/>
              <a:gd name="connsiteY59" fmla="*/ 25333 h 606722"/>
              <a:gd name="connsiteX60" fmla="*/ 607627 w 607627"/>
              <a:gd name="connsiteY60" fmla="*/ 63195 h 606722"/>
              <a:gd name="connsiteX61" fmla="*/ 607627 w 607627"/>
              <a:gd name="connsiteY61" fmla="*/ 113766 h 606722"/>
              <a:gd name="connsiteX62" fmla="*/ 569613 w 607627"/>
              <a:gd name="connsiteY62" fmla="*/ 151716 h 606722"/>
              <a:gd name="connsiteX63" fmla="*/ 518958 w 607627"/>
              <a:gd name="connsiteY63" fmla="*/ 151716 h 606722"/>
              <a:gd name="connsiteX64" fmla="*/ 481033 w 607627"/>
              <a:gd name="connsiteY64" fmla="*/ 113766 h 606722"/>
              <a:gd name="connsiteX65" fmla="*/ 481033 w 607627"/>
              <a:gd name="connsiteY65" fmla="*/ 63195 h 606722"/>
              <a:gd name="connsiteX66" fmla="*/ 518958 w 607627"/>
              <a:gd name="connsiteY66" fmla="*/ 25333 h 606722"/>
              <a:gd name="connsiteX67" fmla="*/ 113916 w 607627"/>
              <a:gd name="connsiteY67" fmla="*/ 0 h 606722"/>
              <a:gd name="connsiteX68" fmla="*/ 177178 w 607627"/>
              <a:gd name="connsiteY68" fmla="*/ 63192 h 606722"/>
              <a:gd name="connsiteX69" fmla="*/ 113916 w 607627"/>
              <a:gd name="connsiteY69" fmla="*/ 126384 h 606722"/>
              <a:gd name="connsiteX70" fmla="*/ 50654 w 607627"/>
              <a:gd name="connsiteY70" fmla="*/ 63192 h 606722"/>
              <a:gd name="connsiteX71" fmla="*/ 113916 w 607627"/>
              <a:gd name="connsiteY71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07627" h="606722">
                <a:moveTo>
                  <a:pt x="518958" y="480339"/>
                </a:moveTo>
                <a:lnTo>
                  <a:pt x="569613" y="480339"/>
                </a:lnTo>
                <a:cubicBezTo>
                  <a:pt x="590623" y="480339"/>
                  <a:pt x="607627" y="497315"/>
                  <a:pt x="607627" y="518201"/>
                </a:cubicBezTo>
                <a:lnTo>
                  <a:pt x="607627" y="568772"/>
                </a:lnTo>
                <a:cubicBezTo>
                  <a:pt x="607627" y="589658"/>
                  <a:pt x="590623" y="606722"/>
                  <a:pt x="569613" y="606722"/>
                </a:cubicBezTo>
                <a:lnTo>
                  <a:pt x="518958" y="606722"/>
                </a:lnTo>
                <a:cubicBezTo>
                  <a:pt x="498037" y="606722"/>
                  <a:pt x="481033" y="589658"/>
                  <a:pt x="481033" y="568772"/>
                </a:cubicBezTo>
                <a:lnTo>
                  <a:pt x="481033" y="518201"/>
                </a:lnTo>
                <a:cubicBezTo>
                  <a:pt x="481033" y="497315"/>
                  <a:pt x="498037" y="480339"/>
                  <a:pt x="518958" y="480339"/>
                </a:cubicBezTo>
                <a:close/>
                <a:moveTo>
                  <a:pt x="518958" y="252836"/>
                </a:moveTo>
                <a:lnTo>
                  <a:pt x="569613" y="252836"/>
                </a:lnTo>
                <a:cubicBezTo>
                  <a:pt x="590623" y="252836"/>
                  <a:pt x="607627" y="269812"/>
                  <a:pt x="607627" y="290698"/>
                </a:cubicBezTo>
                <a:lnTo>
                  <a:pt x="607627" y="341269"/>
                </a:lnTo>
                <a:cubicBezTo>
                  <a:pt x="607627" y="362155"/>
                  <a:pt x="590623" y="379219"/>
                  <a:pt x="569613" y="379219"/>
                </a:cubicBezTo>
                <a:lnTo>
                  <a:pt x="518958" y="379219"/>
                </a:lnTo>
                <a:cubicBezTo>
                  <a:pt x="498037" y="379219"/>
                  <a:pt x="481033" y="362155"/>
                  <a:pt x="481033" y="341269"/>
                </a:cubicBezTo>
                <a:lnTo>
                  <a:pt x="481033" y="290698"/>
                </a:lnTo>
                <a:cubicBezTo>
                  <a:pt x="481033" y="269812"/>
                  <a:pt x="498037" y="252836"/>
                  <a:pt x="518958" y="252836"/>
                </a:cubicBezTo>
                <a:close/>
                <a:moveTo>
                  <a:pt x="81603" y="151716"/>
                </a:moveTo>
                <a:lnTo>
                  <a:pt x="146211" y="151716"/>
                </a:lnTo>
                <a:cubicBezTo>
                  <a:pt x="179049" y="151716"/>
                  <a:pt x="206814" y="178110"/>
                  <a:pt x="210819" y="213124"/>
                </a:cubicBezTo>
                <a:lnTo>
                  <a:pt x="227549" y="359935"/>
                </a:lnTo>
                <a:cubicBezTo>
                  <a:pt x="228973" y="372199"/>
                  <a:pt x="225146" y="384374"/>
                  <a:pt x="217137" y="393349"/>
                </a:cubicBezTo>
                <a:cubicBezTo>
                  <a:pt x="210285" y="401081"/>
                  <a:pt x="201119" y="405613"/>
                  <a:pt x="191152" y="406146"/>
                </a:cubicBezTo>
                <a:lnTo>
                  <a:pt x="177180" y="594992"/>
                </a:lnTo>
                <a:cubicBezTo>
                  <a:pt x="176646" y="601568"/>
                  <a:pt x="171129" y="606722"/>
                  <a:pt x="164543" y="606722"/>
                </a:cubicBezTo>
                <a:lnTo>
                  <a:pt x="63271" y="606722"/>
                </a:lnTo>
                <a:cubicBezTo>
                  <a:pt x="56685" y="606722"/>
                  <a:pt x="51168" y="601568"/>
                  <a:pt x="50634" y="594992"/>
                </a:cubicBezTo>
                <a:lnTo>
                  <a:pt x="36662" y="406146"/>
                </a:lnTo>
                <a:cubicBezTo>
                  <a:pt x="26784" y="405613"/>
                  <a:pt x="17529" y="401081"/>
                  <a:pt x="10677" y="393349"/>
                </a:cubicBezTo>
                <a:cubicBezTo>
                  <a:pt x="2668" y="384374"/>
                  <a:pt x="-1070" y="372199"/>
                  <a:pt x="265" y="359935"/>
                </a:cubicBezTo>
                <a:lnTo>
                  <a:pt x="17084" y="213124"/>
                </a:lnTo>
                <a:cubicBezTo>
                  <a:pt x="21000" y="178110"/>
                  <a:pt x="48765" y="151716"/>
                  <a:pt x="81603" y="151716"/>
                </a:cubicBezTo>
                <a:close/>
                <a:moveTo>
                  <a:pt x="392406" y="75787"/>
                </a:moveTo>
                <a:lnTo>
                  <a:pt x="443059" y="75787"/>
                </a:lnTo>
                <a:cubicBezTo>
                  <a:pt x="450092" y="75787"/>
                  <a:pt x="455700" y="81476"/>
                  <a:pt x="455700" y="88497"/>
                </a:cubicBezTo>
                <a:cubicBezTo>
                  <a:pt x="455700" y="95430"/>
                  <a:pt x="450092" y="101119"/>
                  <a:pt x="443059" y="101119"/>
                </a:cubicBezTo>
                <a:lnTo>
                  <a:pt x="392406" y="101119"/>
                </a:lnTo>
                <a:cubicBezTo>
                  <a:pt x="371486" y="101119"/>
                  <a:pt x="354483" y="118095"/>
                  <a:pt x="354483" y="139072"/>
                </a:cubicBezTo>
                <a:lnTo>
                  <a:pt x="354483" y="303326"/>
                </a:lnTo>
                <a:lnTo>
                  <a:pt x="443059" y="303326"/>
                </a:lnTo>
                <a:cubicBezTo>
                  <a:pt x="450092" y="303326"/>
                  <a:pt x="455700" y="309015"/>
                  <a:pt x="455700" y="316037"/>
                </a:cubicBezTo>
                <a:cubicBezTo>
                  <a:pt x="455700" y="322970"/>
                  <a:pt x="450092" y="328658"/>
                  <a:pt x="443059" y="328658"/>
                </a:cubicBezTo>
                <a:lnTo>
                  <a:pt x="354483" y="328658"/>
                </a:lnTo>
                <a:lnTo>
                  <a:pt x="354483" y="493002"/>
                </a:lnTo>
                <a:cubicBezTo>
                  <a:pt x="354483" y="513889"/>
                  <a:pt x="371486" y="530866"/>
                  <a:pt x="392406" y="530866"/>
                </a:cubicBezTo>
                <a:lnTo>
                  <a:pt x="443059" y="530866"/>
                </a:lnTo>
                <a:cubicBezTo>
                  <a:pt x="450092" y="530866"/>
                  <a:pt x="455700" y="536554"/>
                  <a:pt x="455700" y="543576"/>
                </a:cubicBezTo>
                <a:cubicBezTo>
                  <a:pt x="455700" y="550509"/>
                  <a:pt x="450092" y="556197"/>
                  <a:pt x="443059" y="556197"/>
                </a:cubicBezTo>
                <a:lnTo>
                  <a:pt x="392406" y="556197"/>
                </a:lnTo>
                <a:cubicBezTo>
                  <a:pt x="357510" y="556197"/>
                  <a:pt x="329112" y="527844"/>
                  <a:pt x="329112" y="493002"/>
                </a:cubicBezTo>
                <a:lnTo>
                  <a:pt x="329112" y="328658"/>
                </a:lnTo>
                <a:lnTo>
                  <a:pt x="265818" y="328658"/>
                </a:lnTo>
                <a:cubicBezTo>
                  <a:pt x="258785" y="328658"/>
                  <a:pt x="253177" y="322970"/>
                  <a:pt x="253177" y="316037"/>
                </a:cubicBezTo>
                <a:cubicBezTo>
                  <a:pt x="253177" y="309015"/>
                  <a:pt x="258785" y="303326"/>
                  <a:pt x="265818" y="303326"/>
                </a:cubicBezTo>
                <a:lnTo>
                  <a:pt x="329112" y="303326"/>
                </a:lnTo>
                <a:lnTo>
                  <a:pt x="329112" y="139072"/>
                </a:lnTo>
                <a:cubicBezTo>
                  <a:pt x="329112" y="104230"/>
                  <a:pt x="357510" y="75787"/>
                  <a:pt x="392406" y="75787"/>
                </a:cubicBezTo>
                <a:close/>
                <a:moveTo>
                  <a:pt x="518958" y="25333"/>
                </a:moveTo>
                <a:lnTo>
                  <a:pt x="569613" y="25333"/>
                </a:lnTo>
                <a:cubicBezTo>
                  <a:pt x="590623" y="25333"/>
                  <a:pt x="607627" y="42309"/>
                  <a:pt x="607627" y="63195"/>
                </a:cubicBezTo>
                <a:lnTo>
                  <a:pt x="607627" y="113766"/>
                </a:lnTo>
                <a:cubicBezTo>
                  <a:pt x="607627" y="134652"/>
                  <a:pt x="590623" y="151716"/>
                  <a:pt x="569613" y="151716"/>
                </a:cubicBezTo>
                <a:lnTo>
                  <a:pt x="518958" y="151716"/>
                </a:lnTo>
                <a:cubicBezTo>
                  <a:pt x="498037" y="151716"/>
                  <a:pt x="481033" y="134652"/>
                  <a:pt x="481033" y="113766"/>
                </a:cubicBezTo>
                <a:lnTo>
                  <a:pt x="481033" y="63195"/>
                </a:lnTo>
                <a:cubicBezTo>
                  <a:pt x="481033" y="42309"/>
                  <a:pt x="498037" y="25333"/>
                  <a:pt x="518958" y="25333"/>
                </a:cubicBezTo>
                <a:close/>
                <a:moveTo>
                  <a:pt x="113916" y="0"/>
                </a:moveTo>
                <a:cubicBezTo>
                  <a:pt x="148855" y="0"/>
                  <a:pt x="177178" y="28292"/>
                  <a:pt x="177178" y="63192"/>
                </a:cubicBezTo>
                <a:cubicBezTo>
                  <a:pt x="177178" y="98092"/>
                  <a:pt x="148855" y="126384"/>
                  <a:pt x="113916" y="126384"/>
                </a:cubicBezTo>
                <a:cubicBezTo>
                  <a:pt x="78977" y="126384"/>
                  <a:pt x="50654" y="98092"/>
                  <a:pt x="50654" y="63192"/>
                </a:cubicBezTo>
                <a:cubicBezTo>
                  <a:pt x="50654" y="28292"/>
                  <a:pt x="78977" y="0"/>
                  <a:pt x="11391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32" name="îŝlîḋé">
            <a:extLst>
              <a:ext uri="{FF2B5EF4-FFF2-40B4-BE49-F238E27FC236}">
                <a16:creationId xmlns:a16="http://schemas.microsoft.com/office/drawing/2014/main" id="{9A316D09-BE6B-47C2-91E6-40CB9BA5E98D}"/>
              </a:ext>
            </a:extLst>
          </p:cNvPr>
          <p:cNvSpPr/>
          <p:nvPr/>
        </p:nvSpPr>
        <p:spPr bwMode="auto">
          <a:xfrm>
            <a:off x="9890426" y="1333659"/>
            <a:ext cx="1188720" cy="1188720"/>
          </a:xfrm>
          <a:prstGeom prst="ellipse">
            <a:avLst/>
          </a:prstGeom>
          <a:solidFill>
            <a:srgbClr val="FF9391"/>
          </a:solidFill>
          <a:ln w="38100">
            <a:solidFill>
              <a:schemeClr val="bg2"/>
            </a:solidFill>
          </a:ln>
          <a:effectLst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3200"/>
          </a:p>
        </p:txBody>
      </p:sp>
      <p:sp>
        <p:nvSpPr>
          <p:cNvPr id="33" name="iṧḷïdè">
            <a:extLst>
              <a:ext uri="{FF2B5EF4-FFF2-40B4-BE49-F238E27FC236}">
                <a16:creationId xmlns:a16="http://schemas.microsoft.com/office/drawing/2014/main" id="{D6610CE7-51B7-46F4-8700-B4832E0B4D5B}"/>
              </a:ext>
            </a:extLst>
          </p:cNvPr>
          <p:cNvSpPr/>
          <p:nvPr/>
        </p:nvSpPr>
        <p:spPr bwMode="auto">
          <a:xfrm>
            <a:off x="10274047" y="1701574"/>
            <a:ext cx="457015" cy="452888"/>
          </a:xfrm>
          <a:custGeom>
            <a:avLst/>
            <a:gdLst>
              <a:gd name="connsiteX0" fmla="*/ 509642 w 605882"/>
              <a:gd name="connsiteY0" fmla="*/ 502443 h 600411"/>
              <a:gd name="connsiteX1" fmla="*/ 515394 w 605882"/>
              <a:gd name="connsiteY1" fmla="*/ 505314 h 600411"/>
              <a:gd name="connsiteX2" fmla="*/ 515394 w 605882"/>
              <a:gd name="connsiteY2" fmla="*/ 509621 h 600411"/>
              <a:gd name="connsiteX3" fmla="*/ 525460 w 605882"/>
              <a:gd name="connsiteY3" fmla="*/ 502443 h 600411"/>
              <a:gd name="connsiteX4" fmla="*/ 531211 w 605882"/>
              <a:gd name="connsiteY4" fmla="*/ 511056 h 600411"/>
              <a:gd name="connsiteX5" fmla="*/ 542715 w 605882"/>
              <a:gd name="connsiteY5" fmla="*/ 526846 h 600411"/>
              <a:gd name="connsiteX6" fmla="*/ 544153 w 605882"/>
              <a:gd name="connsiteY6" fmla="*/ 536894 h 600411"/>
              <a:gd name="connsiteX7" fmla="*/ 539839 w 605882"/>
              <a:gd name="connsiteY7" fmla="*/ 552684 h 600411"/>
              <a:gd name="connsiteX8" fmla="*/ 531211 w 605882"/>
              <a:gd name="connsiteY8" fmla="*/ 556990 h 600411"/>
              <a:gd name="connsiteX9" fmla="*/ 522584 w 605882"/>
              <a:gd name="connsiteY9" fmla="*/ 555555 h 600411"/>
              <a:gd name="connsiteX10" fmla="*/ 515394 w 605882"/>
              <a:gd name="connsiteY10" fmla="*/ 549813 h 600411"/>
              <a:gd name="connsiteX11" fmla="*/ 508204 w 605882"/>
              <a:gd name="connsiteY11" fmla="*/ 542636 h 600411"/>
              <a:gd name="connsiteX12" fmla="*/ 488072 w 605882"/>
              <a:gd name="connsiteY12" fmla="*/ 548377 h 600411"/>
              <a:gd name="connsiteX13" fmla="*/ 479444 w 605882"/>
              <a:gd name="connsiteY13" fmla="*/ 548377 h 600411"/>
              <a:gd name="connsiteX14" fmla="*/ 478006 w 605882"/>
              <a:gd name="connsiteY14" fmla="*/ 536894 h 600411"/>
              <a:gd name="connsiteX15" fmla="*/ 476568 w 605882"/>
              <a:gd name="connsiteY15" fmla="*/ 523975 h 600411"/>
              <a:gd name="connsiteX16" fmla="*/ 488072 w 605882"/>
              <a:gd name="connsiteY16" fmla="*/ 518233 h 600411"/>
              <a:gd name="connsiteX17" fmla="*/ 493824 w 605882"/>
              <a:gd name="connsiteY17" fmla="*/ 509621 h 600411"/>
              <a:gd name="connsiteX18" fmla="*/ 501014 w 605882"/>
              <a:gd name="connsiteY18" fmla="*/ 509621 h 600411"/>
              <a:gd name="connsiteX19" fmla="*/ 509642 w 605882"/>
              <a:gd name="connsiteY19" fmla="*/ 502443 h 600411"/>
              <a:gd name="connsiteX20" fmla="*/ 510755 w 605882"/>
              <a:gd name="connsiteY20" fmla="*/ 484065 h 600411"/>
              <a:gd name="connsiteX21" fmla="*/ 515433 w 605882"/>
              <a:gd name="connsiteY21" fmla="*/ 485139 h 600411"/>
              <a:gd name="connsiteX22" fmla="*/ 525509 w 605882"/>
              <a:gd name="connsiteY22" fmla="*/ 486572 h 600411"/>
              <a:gd name="connsiteX23" fmla="*/ 534145 w 605882"/>
              <a:gd name="connsiteY23" fmla="*/ 490869 h 600411"/>
              <a:gd name="connsiteX24" fmla="*/ 537024 w 605882"/>
              <a:gd name="connsiteY24" fmla="*/ 493734 h 600411"/>
              <a:gd name="connsiteX25" fmla="*/ 539902 w 605882"/>
              <a:gd name="connsiteY25" fmla="*/ 499464 h 600411"/>
              <a:gd name="connsiteX26" fmla="*/ 534145 w 605882"/>
              <a:gd name="connsiteY26" fmla="*/ 500896 h 600411"/>
              <a:gd name="connsiteX27" fmla="*/ 525509 w 605882"/>
              <a:gd name="connsiteY27" fmla="*/ 499464 h 600411"/>
              <a:gd name="connsiteX28" fmla="*/ 516873 w 605882"/>
              <a:gd name="connsiteY28" fmla="*/ 495166 h 600411"/>
              <a:gd name="connsiteX29" fmla="*/ 516873 w 605882"/>
              <a:gd name="connsiteY29" fmla="*/ 490869 h 600411"/>
              <a:gd name="connsiteX30" fmla="*/ 508237 w 605882"/>
              <a:gd name="connsiteY30" fmla="*/ 485139 h 600411"/>
              <a:gd name="connsiteX31" fmla="*/ 510755 w 605882"/>
              <a:gd name="connsiteY31" fmla="*/ 484065 h 600411"/>
              <a:gd name="connsiteX32" fmla="*/ 447040 w 605882"/>
              <a:gd name="connsiteY32" fmla="*/ 472502 h 600411"/>
              <a:gd name="connsiteX33" fmla="*/ 452243 w 605882"/>
              <a:gd name="connsiteY33" fmla="*/ 476625 h 600411"/>
              <a:gd name="connsiteX34" fmla="*/ 462290 w 605882"/>
              <a:gd name="connsiteY34" fmla="*/ 485229 h 600411"/>
              <a:gd name="connsiteX35" fmla="*/ 468032 w 605882"/>
              <a:gd name="connsiteY35" fmla="*/ 480927 h 600411"/>
              <a:gd name="connsiteX36" fmla="*/ 476643 w 605882"/>
              <a:gd name="connsiteY36" fmla="*/ 476625 h 600411"/>
              <a:gd name="connsiteX37" fmla="*/ 480949 w 605882"/>
              <a:gd name="connsiteY37" fmla="*/ 479493 h 600411"/>
              <a:gd name="connsiteX38" fmla="*/ 479514 w 605882"/>
              <a:gd name="connsiteY38" fmla="*/ 486663 h 600411"/>
              <a:gd name="connsiteX39" fmla="*/ 486690 w 605882"/>
              <a:gd name="connsiteY39" fmla="*/ 480927 h 600411"/>
              <a:gd name="connsiteX40" fmla="*/ 493867 w 605882"/>
              <a:gd name="connsiteY40" fmla="*/ 482361 h 600411"/>
              <a:gd name="connsiteX41" fmla="*/ 495302 w 605882"/>
              <a:gd name="connsiteY41" fmla="*/ 490966 h 600411"/>
              <a:gd name="connsiteX42" fmla="*/ 489561 w 605882"/>
              <a:gd name="connsiteY42" fmla="*/ 495268 h 600411"/>
              <a:gd name="connsiteX43" fmla="*/ 482385 w 605882"/>
              <a:gd name="connsiteY43" fmla="*/ 493834 h 600411"/>
              <a:gd name="connsiteX44" fmla="*/ 479514 w 605882"/>
              <a:gd name="connsiteY44" fmla="*/ 498136 h 600411"/>
              <a:gd name="connsiteX45" fmla="*/ 469467 w 605882"/>
              <a:gd name="connsiteY45" fmla="*/ 493834 h 600411"/>
              <a:gd name="connsiteX46" fmla="*/ 462290 w 605882"/>
              <a:gd name="connsiteY46" fmla="*/ 493834 h 600411"/>
              <a:gd name="connsiteX47" fmla="*/ 455114 w 605882"/>
              <a:gd name="connsiteY47" fmla="*/ 489532 h 600411"/>
              <a:gd name="connsiteX48" fmla="*/ 445067 w 605882"/>
              <a:gd name="connsiteY48" fmla="*/ 473757 h 600411"/>
              <a:gd name="connsiteX49" fmla="*/ 447040 w 605882"/>
              <a:gd name="connsiteY49" fmla="*/ 472502 h 600411"/>
              <a:gd name="connsiteX50" fmla="*/ 526863 w 605882"/>
              <a:gd name="connsiteY50" fmla="*/ 387676 h 600411"/>
              <a:gd name="connsiteX51" fmla="*/ 528297 w 605882"/>
              <a:gd name="connsiteY51" fmla="*/ 387676 h 600411"/>
              <a:gd name="connsiteX52" fmla="*/ 529731 w 605882"/>
              <a:gd name="connsiteY52" fmla="*/ 397747 h 600411"/>
              <a:gd name="connsiteX53" fmla="*/ 525429 w 605882"/>
              <a:gd name="connsiteY53" fmla="*/ 404940 h 600411"/>
              <a:gd name="connsiteX54" fmla="*/ 521127 w 605882"/>
              <a:gd name="connsiteY54" fmla="*/ 416450 h 600411"/>
              <a:gd name="connsiteX55" fmla="*/ 503917 w 605882"/>
              <a:gd name="connsiteY55" fmla="*/ 425082 h 600411"/>
              <a:gd name="connsiteX56" fmla="*/ 508220 w 605882"/>
              <a:gd name="connsiteY56" fmla="*/ 417888 h 600411"/>
              <a:gd name="connsiteX57" fmla="*/ 516824 w 605882"/>
              <a:gd name="connsiteY57" fmla="*/ 410695 h 600411"/>
              <a:gd name="connsiteX58" fmla="*/ 521127 w 605882"/>
              <a:gd name="connsiteY58" fmla="*/ 402063 h 600411"/>
              <a:gd name="connsiteX59" fmla="*/ 525429 w 605882"/>
              <a:gd name="connsiteY59" fmla="*/ 391992 h 600411"/>
              <a:gd name="connsiteX60" fmla="*/ 526863 w 605882"/>
              <a:gd name="connsiteY60" fmla="*/ 387676 h 600411"/>
              <a:gd name="connsiteX61" fmla="*/ 15955 w 605882"/>
              <a:gd name="connsiteY61" fmla="*/ 301859 h 600411"/>
              <a:gd name="connsiteX62" fmla="*/ 26006 w 605882"/>
              <a:gd name="connsiteY62" fmla="*/ 301859 h 600411"/>
              <a:gd name="connsiteX63" fmla="*/ 34621 w 605882"/>
              <a:gd name="connsiteY63" fmla="*/ 304725 h 600411"/>
              <a:gd name="connsiteX64" fmla="*/ 51850 w 605882"/>
              <a:gd name="connsiteY64" fmla="*/ 309024 h 600411"/>
              <a:gd name="connsiteX65" fmla="*/ 60465 w 605882"/>
              <a:gd name="connsiteY65" fmla="*/ 307591 h 600411"/>
              <a:gd name="connsiteX66" fmla="*/ 73387 w 605882"/>
              <a:gd name="connsiteY66" fmla="*/ 307591 h 600411"/>
              <a:gd name="connsiteX67" fmla="*/ 80566 w 605882"/>
              <a:gd name="connsiteY67" fmla="*/ 309024 h 600411"/>
              <a:gd name="connsiteX68" fmla="*/ 113589 w 605882"/>
              <a:gd name="connsiteY68" fmla="*/ 313323 h 600411"/>
              <a:gd name="connsiteX69" fmla="*/ 123640 w 605882"/>
              <a:gd name="connsiteY69" fmla="*/ 311890 h 600411"/>
              <a:gd name="connsiteX70" fmla="*/ 137998 w 605882"/>
              <a:gd name="connsiteY70" fmla="*/ 307591 h 600411"/>
              <a:gd name="connsiteX71" fmla="*/ 146612 w 605882"/>
              <a:gd name="connsiteY71" fmla="*/ 320488 h 600411"/>
              <a:gd name="connsiteX72" fmla="*/ 143741 w 605882"/>
              <a:gd name="connsiteY72" fmla="*/ 327653 h 600411"/>
              <a:gd name="connsiteX73" fmla="*/ 146612 w 605882"/>
              <a:gd name="connsiteY73" fmla="*/ 333386 h 600411"/>
              <a:gd name="connsiteX74" fmla="*/ 142305 w 605882"/>
              <a:gd name="connsiteY74" fmla="*/ 336252 h 600411"/>
              <a:gd name="connsiteX75" fmla="*/ 135126 w 605882"/>
              <a:gd name="connsiteY75" fmla="*/ 337685 h 600411"/>
              <a:gd name="connsiteX76" fmla="*/ 127947 w 605882"/>
              <a:gd name="connsiteY76" fmla="*/ 340551 h 600411"/>
              <a:gd name="connsiteX77" fmla="*/ 123640 w 605882"/>
              <a:gd name="connsiteY77" fmla="*/ 352015 h 600411"/>
              <a:gd name="connsiteX78" fmla="*/ 129383 w 605882"/>
              <a:gd name="connsiteY78" fmla="*/ 359180 h 600411"/>
              <a:gd name="connsiteX79" fmla="*/ 140869 w 605882"/>
              <a:gd name="connsiteY79" fmla="*/ 363479 h 600411"/>
              <a:gd name="connsiteX80" fmla="*/ 143741 w 605882"/>
              <a:gd name="connsiteY80" fmla="*/ 372077 h 600411"/>
              <a:gd name="connsiteX81" fmla="*/ 148048 w 605882"/>
              <a:gd name="connsiteY81" fmla="*/ 374943 h 600411"/>
              <a:gd name="connsiteX82" fmla="*/ 150920 w 605882"/>
              <a:gd name="connsiteY82" fmla="*/ 364912 h 600411"/>
              <a:gd name="connsiteX83" fmla="*/ 149484 w 605882"/>
              <a:gd name="connsiteY83" fmla="*/ 354881 h 600411"/>
              <a:gd name="connsiteX84" fmla="*/ 150920 w 605882"/>
              <a:gd name="connsiteY84" fmla="*/ 343417 h 600411"/>
              <a:gd name="connsiteX85" fmla="*/ 156663 w 605882"/>
              <a:gd name="connsiteY85" fmla="*/ 340551 h 600411"/>
              <a:gd name="connsiteX86" fmla="*/ 163842 w 605882"/>
              <a:gd name="connsiteY86" fmla="*/ 343417 h 600411"/>
              <a:gd name="connsiteX87" fmla="*/ 168149 w 605882"/>
              <a:gd name="connsiteY87" fmla="*/ 349149 h 600411"/>
              <a:gd name="connsiteX88" fmla="*/ 173892 w 605882"/>
              <a:gd name="connsiteY88" fmla="*/ 346283 h 600411"/>
              <a:gd name="connsiteX89" fmla="*/ 179635 w 605882"/>
              <a:gd name="connsiteY89" fmla="*/ 352015 h 600411"/>
              <a:gd name="connsiteX90" fmla="*/ 186815 w 605882"/>
              <a:gd name="connsiteY90" fmla="*/ 363479 h 600411"/>
              <a:gd name="connsiteX91" fmla="*/ 195430 w 605882"/>
              <a:gd name="connsiteY91" fmla="*/ 384974 h 600411"/>
              <a:gd name="connsiteX92" fmla="*/ 193994 w 605882"/>
              <a:gd name="connsiteY92" fmla="*/ 389273 h 600411"/>
              <a:gd name="connsiteX93" fmla="*/ 181071 w 605882"/>
              <a:gd name="connsiteY93" fmla="*/ 393572 h 600411"/>
              <a:gd name="connsiteX94" fmla="*/ 171021 w 605882"/>
              <a:gd name="connsiteY94" fmla="*/ 399304 h 600411"/>
              <a:gd name="connsiteX95" fmla="*/ 163842 w 605882"/>
              <a:gd name="connsiteY95" fmla="*/ 405037 h 600411"/>
              <a:gd name="connsiteX96" fmla="*/ 156663 w 605882"/>
              <a:gd name="connsiteY96" fmla="*/ 413635 h 600411"/>
              <a:gd name="connsiteX97" fmla="*/ 148048 w 605882"/>
              <a:gd name="connsiteY97" fmla="*/ 427965 h 600411"/>
              <a:gd name="connsiteX98" fmla="*/ 145176 w 605882"/>
              <a:gd name="connsiteY98" fmla="*/ 436563 h 600411"/>
              <a:gd name="connsiteX99" fmla="*/ 139433 w 605882"/>
              <a:gd name="connsiteY99" fmla="*/ 429398 h 600411"/>
              <a:gd name="connsiteX100" fmla="*/ 123640 w 605882"/>
              <a:gd name="connsiteY100" fmla="*/ 427965 h 600411"/>
              <a:gd name="connsiteX101" fmla="*/ 122204 w 605882"/>
              <a:gd name="connsiteY101" fmla="*/ 446594 h 600411"/>
              <a:gd name="connsiteX102" fmla="*/ 132254 w 605882"/>
              <a:gd name="connsiteY102" fmla="*/ 440862 h 600411"/>
              <a:gd name="connsiteX103" fmla="*/ 136562 w 605882"/>
              <a:gd name="connsiteY103" fmla="*/ 445161 h 600411"/>
              <a:gd name="connsiteX104" fmla="*/ 137998 w 605882"/>
              <a:gd name="connsiteY104" fmla="*/ 452326 h 600411"/>
              <a:gd name="connsiteX105" fmla="*/ 145176 w 605882"/>
              <a:gd name="connsiteY105" fmla="*/ 459491 h 600411"/>
              <a:gd name="connsiteX106" fmla="*/ 156663 w 605882"/>
              <a:gd name="connsiteY106" fmla="*/ 459491 h 600411"/>
              <a:gd name="connsiteX107" fmla="*/ 181071 w 605882"/>
              <a:gd name="connsiteY107" fmla="*/ 463790 h 600411"/>
              <a:gd name="connsiteX108" fmla="*/ 192558 w 605882"/>
              <a:gd name="connsiteY108" fmla="*/ 469522 h 600411"/>
              <a:gd name="connsiteX109" fmla="*/ 206916 w 605882"/>
              <a:gd name="connsiteY109" fmla="*/ 482420 h 600411"/>
              <a:gd name="connsiteX110" fmla="*/ 228453 w 605882"/>
              <a:gd name="connsiteY110" fmla="*/ 489585 h 600411"/>
              <a:gd name="connsiteX111" fmla="*/ 224145 w 605882"/>
              <a:gd name="connsiteY111" fmla="*/ 513946 h 600411"/>
              <a:gd name="connsiteX112" fmla="*/ 214095 w 605882"/>
              <a:gd name="connsiteY112" fmla="*/ 526843 h 600411"/>
              <a:gd name="connsiteX113" fmla="*/ 191122 w 605882"/>
              <a:gd name="connsiteY113" fmla="*/ 554071 h 600411"/>
              <a:gd name="connsiteX114" fmla="*/ 176764 w 605882"/>
              <a:gd name="connsiteY114" fmla="*/ 566968 h 600411"/>
              <a:gd name="connsiteX115" fmla="*/ 173892 w 605882"/>
              <a:gd name="connsiteY115" fmla="*/ 575566 h 600411"/>
              <a:gd name="connsiteX116" fmla="*/ 173892 w 605882"/>
              <a:gd name="connsiteY116" fmla="*/ 585597 h 600411"/>
              <a:gd name="connsiteX117" fmla="*/ 173892 w 605882"/>
              <a:gd name="connsiteY117" fmla="*/ 595628 h 600411"/>
              <a:gd name="connsiteX118" fmla="*/ 173892 w 605882"/>
              <a:gd name="connsiteY118" fmla="*/ 599927 h 600411"/>
              <a:gd name="connsiteX119" fmla="*/ 159534 w 605882"/>
              <a:gd name="connsiteY119" fmla="*/ 591329 h 600411"/>
              <a:gd name="connsiteX120" fmla="*/ 159534 w 605882"/>
              <a:gd name="connsiteY120" fmla="*/ 561236 h 600411"/>
              <a:gd name="connsiteX121" fmla="*/ 163842 w 605882"/>
              <a:gd name="connsiteY121" fmla="*/ 523977 h 600411"/>
              <a:gd name="connsiteX122" fmla="*/ 158099 w 605882"/>
              <a:gd name="connsiteY122" fmla="*/ 512513 h 600411"/>
              <a:gd name="connsiteX123" fmla="*/ 146612 w 605882"/>
              <a:gd name="connsiteY123" fmla="*/ 493884 h 600411"/>
              <a:gd name="connsiteX124" fmla="*/ 148048 w 605882"/>
              <a:gd name="connsiteY124" fmla="*/ 480987 h 600411"/>
              <a:gd name="connsiteX125" fmla="*/ 148048 w 605882"/>
              <a:gd name="connsiteY125" fmla="*/ 470955 h 600411"/>
              <a:gd name="connsiteX126" fmla="*/ 136562 w 605882"/>
              <a:gd name="connsiteY126" fmla="*/ 462357 h 600411"/>
              <a:gd name="connsiteX127" fmla="*/ 127947 w 605882"/>
              <a:gd name="connsiteY127" fmla="*/ 456625 h 600411"/>
              <a:gd name="connsiteX128" fmla="*/ 113589 w 605882"/>
              <a:gd name="connsiteY128" fmla="*/ 452326 h 600411"/>
              <a:gd name="connsiteX129" fmla="*/ 99231 w 605882"/>
              <a:gd name="connsiteY129" fmla="*/ 437996 h 600411"/>
              <a:gd name="connsiteX130" fmla="*/ 97795 w 605882"/>
              <a:gd name="connsiteY130" fmla="*/ 443728 h 600411"/>
              <a:gd name="connsiteX131" fmla="*/ 80566 w 605882"/>
              <a:gd name="connsiteY131" fmla="*/ 420800 h 600411"/>
              <a:gd name="connsiteX132" fmla="*/ 71951 w 605882"/>
              <a:gd name="connsiteY132" fmla="*/ 387840 h 600411"/>
              <a:gd name="connsiteX133" fmla="*/ 57593 w 605882"/>
              <a:gd name="connsiteY133" fmla="*/ 367778 h 600411"/>
              <a:gd name="connsiteX134" fmla="*/ 46107 w 605882"/>
              <a:gd name="connsiteY134" fmla="*/ 352015 h 600411"/>
              <a:gd name="connsiteX135" fmla="*/ 30313 w 605882"/>
              <a:gd name="connsiteY135" fmla="*/ 352015 h 600411"/>
              <a:gd name="connsiteX136" fmla="*/ 8776 w 605882"/>
              <a:gd name="connsiteY136" fmla="*/ 352015 h 600411"/>
              <a:gd name="connsiteX137" fmla="*/ 162 w 605882"/>
              <a:gd name="connsiteY137" fmla="*/ 329087 h 600411"/>
              <a:gd name="connsiteX138" fmla="*/ 4469 w 605882"/>
              <a:gd name="connsiteY138" fmla="*/ 316189 h 600411"/>
              <a:gd name="connsiteX139" fmla="*/ 7340 w 605882"/>
              <a:gd name="connsiteY139" fmla="*/ 309024 h 600411"/>
              <a:gd name="connsiteX140" fmla="*/ 15955 w 605882"/>
              <a:gd name="connsiteY140" fmla="*/ 301859 h 600411"/>
              <a:gd name="connsiteX141" fmla="*/ 186781 w 605882"/>
              <a:gd name="connsiteY141" fmla="*/ 274448 h 600411"/>
              <a:gd name="connsiteX142" fmla="*/ 257129 w 605882"/>
              <a:gd name="connsiteY142" fmla="*/ 274448 h 600411"/>
              <a:gd name="connsiteX143" fmla="*/ 249951 w 605882"/>
              <a:gd name="connsiteY143" fmla="*/ 287371 h 600411"/>
              <a:gd name="connsiteX144" fmla="*/ 251387 w 605882"/>
              <a:gd name="connsiteY144" fmla="*/ 301729 h 600411"/>
              <a:gd name="connsiteX145" fmla="*/ 245644 w 605882"/>
              <a:gd name="connsiteY145" fmla="*/ 311780 h 600411"/>
              <a:gd name="connsiteX146" fmla="*/ 222673 w 605882"/>
              <a:gd name="connsiteY146" fmla="*/ 329010 h 600411"/>
              <a:gd name="connsiteX147" fmla="*/ 215495 w 605882"/>
              <a:gd name="connsiteY147" fmla="*/ 341933 h 600411"/>
              <a:gd name="connsiteX148" fmla="*/ 211188 w 605882"/>
              <a:gd name="connsiteY148" fmla="*/ 353419 h 600411"/>
              <a:gd name="connsiteX149" fmla="*/ 205445 w 605882"/>
              <a:gd name="connsiteY149" fmla="*/ 350548 h 600411"/>
              <a:gd name="connsiteX150" fmla="*/ 195395 w 605882"/>
              <a:gd name="connsiteY150" fmla="*/ 331882 h 600411"/>
              <a:gd name="connsiteX151" fmla="*/ 192524 w 605882"/>
              <a:gd name="connsiteY151" fmla="*/ 314652 h 600411"/>
              <a:gd name="connsiteX152" fmla="*/ 192524 w 605882"/>
              <a:gd name="connsiteY152" fmla="*/ 304601 h 600411"/>
              <a:gd name="connsiteX153" fmla="*/ 189653 w 605882"/>
              <a:gd name="connsiteY153" fmla="*/ 297422 h 600411"/>
              <a:gd name="connsiteX154" fmla="*/ 186781 w 605882"/>
              <a:gd name="connsiteY154" fmla="*/ 274448 h 600411"/>
              <a:gd name="connsiteX155" fmla="*/ 465186 w 605882"/>
              <a:gd name="connsiteY155" fmla="*/ 265820 h 600411"/>
              <a:gd name="connsiteX156" fmla="*/ 492464 w 605882"/>
              <a:gd name="connsiteY156" fmla="*/ 283021 h 600411"/>
              <a:gd name="connsiteX157" fmla="*/ 522613 w 605882"/>
              <a:gd name="connsiteY157" fmla="*/ 290188 h 600411"/>
              <a:gd name="connsiteX158" fmla="*/ 549891 w 605882"/>
              <a:gd name="connsiteY158" fmla="*/ 295921 h 600411"/>
              <a:gd name="connsiteX159" fmla="*/ 571426 w 605882"/>
              <a:gd name="connsiteY159" fmla="*/ 301655 h 600411"/>
              <a:gd name="connsiteX160" fmla="*/ 595832 w 605882"/>
              <a:gd name="connsiteY160" fmla="*/ 314556 h 600411"/>
              <a:gd name="connsiteX161" fmla="*/ 605882 w 605882"/>
              <a:gd name="connsiteY161" fmla="*/ 323156 h 600411"/>
              <a:gd name="connsiteX162" fmla="*/ 600140 w 605882"/>
              <a:gd name="connsiteY162" fmla="*/ 333190 h 600411"/>
              <a:gd name="connsiteX163" fmla="*/ 590090 w 605882"/>
              <a:gd name="connsiteY163" fmla="*/ 330323 h 600411"/>
              <a:gd name="connsiteX164" fmla="*/ 587218 w 605882"/>
              <a:gd name="connsiteY164" fmla="*/ 338923 h 600411"/>
              <a:gd name="connsiteX165" fmla="*/ 565683 w 605882"/>
              <a:gd name="connsiteY165" fmla="*/ 351824 h 600411"/>
              <a:gd name="connsiteX166" fmla="*/ 561376 w 605882"/>
              <a:gd name="connsiteY166" fmla="*/ 357558 h 600411"/>
              <a:gd name="connsiteX167" fmla="*/ 555634 w 605882"/>
              <a:gd name="connsiteY167" fmla="*/ 367591 h 600411"/>
              <a:gd name="connsiteX168" fmla="*/ 547019 w 605882"/>
              <a:gd name="connsiteY168" fmla="*/ 381925 h 600411"/>
              <a:gd name="connsiteX169" fmla="*/ 544148 w 605882"/>
              <a:gd name="connsiteY169" fmla="*/ 373325 h 600411"/>
              <a:gd name="connsiteX170" fmla="*/ 534098 w 605882"/>
              <a:gd name="connsiteY170" fmla="*/ 354691 h 600411"/>
              <a:gd name="connsiteX171" fmla="*/ 521177 w 605882"/>
              <a:gd name="connsiteY171" fmla="*/ 363291 h 600411"/>
              <a:gd name="connsiteX172" fmla="*/ 525484 w 605882"/>
              <a:gd name="connsiteY172" fmla="*/ 370458 h 600411"/>
              <a:gd name="connsiteX173" fmla="*/ 522613 w 605882"/>
              <a:gd name="connsiteY173" fmla="*/ 383359 h 600411"/>
              <a:gd name="connsiteX174" fmla="*/ 506820 w 605882"/>
              <a:gd name="connsiteY174" fmla="*/ 401993 h 600411"/>
              <a:gd name="connsiteX175" fmla="*/ 505385 w 605882"/>
              <a:gd name="connsiteY175" fmla="*/ 414894 h 600411"/>
              <a:gd name="connsiteX176" fmla="*/ 496771 w 605882"/>
              <a:gd name="connsiteY176" fmla="*/ 417760 h 600411"/>
              <a:gd name="connsiteX177" fmla="*/ 495335 w 605882"/>
              <a:gd name="connsiteY177" fmla="*/ 407727 h 600411"/>
              <a:gd name="connsiteX178" fmla="*/ 486721 w 605882"/>
              <a:gd name="connsiteY178" fmla="*/ 413460 h 600411"/>
              <a:gd name="connsiteX179" fmla="*/ 489592 w 605882"/>
              <a:gd name="connsiteY179" fmla="*/ 432094 h 600411"/>
              <a:gd name="connsiteX180" fmla="*/ 470929 w 605882"/>
              <a:gd name="connsiteY180" fmla="*/ 444995 h 600411"/>
              <a:gd name="connsiteX181" fmla="*/ 469493 w 605882"/>
              <a:gd name="connsiteY181" fmla="*/ 455029 h 600411"/>
              <a:gd name="connsiteX182" fmla="*/ 462314 w 605882"/>
              <a:gd name="connsiteY182" fmla="*/ 466496 h 600411"/>
              <a:gd name="connsiteX183" fmla="*/ 456572 w 605882"/>
              <a:gd name="connsiteY183" fmla="*/ 462196 h 600411"/>
              <a:gd name="connsiteX184" fmla="*/ 450829 w 605882"/>
              <a:gd name="connsiteY184" fmla="*/ 469363 h 600411"/>
              <a:gd name="connsiteX185" fmla="*/ 449393 w 605882"/>
              <a:gd name="connsiteY185" fmla="*/ 457896 h 600411"/>
              <a:gd name="connsiteX186" fmla="*/ 436472 w 605882"/>
              <a:gd name="connsiteY186" fmla="*/ 444995 h 600411"/>
              <a:gd name="connsiteX187" fmla="*/ 430730 w 605882"/>
              <a:gd name="connsiteY187" fmla="*/ 449295 h 600411"/>
              <a:gd name="connsiteX188" fmla="*/ 419244 w 605882"/>
              <a:gd name="connsiteY188" fmla="*/ 467929 h 600411"/>
              <a:gd name="connsiteX189" fmla="*/ 413501 w 605882"/>
              <a:gd name="connsiteY189" fmla="*/ 469363 h 600411"/>
              <a:gd name="connsiteX190" fmla="*/ 402016 w 605882"/>
              <a:gd name="connsiteY190" fmla="*/ 446428 h 600411"/>
              <a:gd name="connsiteX191" fmla="*/ 384788 w 605882"/>
              <a:gd name="connsiteY191" fmla="*/ 436395 h 600411"/>
              <a:gd name="connsiteX192" fmla="*/ 373302 w 605882"/>
              <a:gd name="connsiteY192" fmla="*/ 432094 h 600411"/>
              <a:gd name="connsiteX193" fmla="*/ 367560 w 605882"/>
              <a:gd name="connsiteY193" fmla="*/ 432094 h 600411"/>
              <a:gd name="connsiteX194" fmla="*/ 376174 w 605882"/>
              <a:gd name="connsiteY194" fmla="*/ 436395 h 600411"/>
              <a:gd name="connsiteX195" fmla="*/ 381917 w 605882"/>
              <a:gd name="connsiteY195" fmla="*/ 446428 h 600411"/>
              <a:gd name="connsiteX196" fmla="*/ 364688 w 605882"/>
              <a:gd name="connsiteY196" fmla="*/ 456462 h 600411"/>
              <a:gd name="connsiteX197" fmla="*/ 350332 w 605882"/>
              <a:gd name="connsiteY197" fmla="*/ 442128 h 600411"/>
              <a:gd name="connsiteX198" fmla="*/ 344589 w 605882"/>
              <a:gd name="connsiteY198" fmla="*/ 439261 h 600411"/>
              <a:gd name="connsiteX199" fmla="*/ 353203 w 605882"/>
              <a:gd name="connsiteY199" fmla="*/ 455029 h 600411"/>
              <a:gd name="connsiteX200" fmla="*/ 368995 w 605882"/>
              <a:gd name="connsiteY200" fmla="*/ 459329 h 600411"/>
              <a:gd name="connsiteX201" fmla="*/ 370431 w 605882"/>
              <a:gd name="connsiteY201" fmla="*/ 466496 h 600411"/>
              <a:gd name="connsiteX202" fmla="*/ 354639 w 605882"/>
              <a:gd name="connsiteY202" fmla="*/ 489430 h 600411"/>
              <a:gd name="connsiteX203" fmla="*/ 353203 w 605882"/>
              <a:gd name="connsiteY203" fmla="*/ 510931 h 600411"/>
              <a:gd name="connsiteX204" fmla="*/ 343153 w 605882"/>
              <a:gd name="connsiteY204" fmla="*/ 520965 h 600411"/>
              <a:gd name="connsiteX205" fmla="*/ 335975 w 605882"/>
              <a:gd name="connsiteY205" fmla="*/ 539599 h 600411"/>
              <a:gd name="connsiteX206" fmla="*/ 317311 w 605882"/>
              <a:gd name="connsiteY206" fmla="*/ 548200 h 600411"/>
              <a:gd name="connsiteX207" fmla="*/ 311568 w 605882"/>
              <a:gd name="connsiteY207" fmla="*/ 536733 h 600411"/>
              <a:gd name="connsiteX208" fmla="*/ 301519 w 605882"/>
              <a:gd name="connsiteY208" fmla="*/ 489430 h 600411"/>
              <a:gd name="connsiteX209" fmla="*/ 298647 w 605882"/>
              <a:gd name="connsiteY209" fmla="*/ 479397 h 600411"/>
              <a:gd name="connsiteX210" fmla="*/ 275676 w 605882"/>
              <a:gd name="connsiteY210" fmla="*/ 475096 h 600411"/>
              <a:gd name="connsiteX211" fmla="*/ 254141 w 605882"/>
              <a:gd name="connsiteY211" fmla="*/ 446428 h 600411"/>
              <a:gd name="connsiteX212" fmla="*/ 269934 w 605882"/>
              <a:gd name="connsiteY212" fmla="*/ 419194 h 600411"/>
              <a:gd name="connsiteX213" fmla="*/ 277112 w 605882"/>
              <a:gd name="connsiteY213" fmla="*/ 416327 h 600411"/>
              <a:gd name="connsiteX214" fmla="*/ 304390 w 605882"/>
              <a:gd name="connsiteY214" fmla="*/ 413460 h 600411"/>
              <a:gd name="connsiteX215" fmla="*/ 314440 w 605882"/>
              <a:gd name="connsiteY215" fmla="*/ 423494 h 600411"/>
              <a:gd name="connsiteX216" fmla="*/ 330232 w 605882"/>
              <a:gd name="connsiteY216" fmla="*/ 423494 h 600411"/>
              <a:gd name="connsiteX217" fmla="*/ 341718 w 605882"/>
              <a:gd name="connsiteY217" fmla="*/ 420627 h 600411"/>
              <a:gd name="connsiteX218" fmla="*/ 341718 w 605882"/>
              <a:gd name="connsiteY218" fmla="*/ 413460 h 600411"/>
              <a:gd name="connsiteX219" fmla="*/ 330232 w 605882"/>
              <a:gd name="connsiteY219" fmla="*/ 410593 h 600411"/>
              <a:gd name="connsiteX220" fmla="*/ 325925 w 605882"/>
              <a:gd name="connsiteY220" fmla="*/ 410593 h 600411"/>
              <a:gd name="connsiteX221" fmla="*/ 320182 w 605882"/>
              <a:gd name="connsiteY221" fmla="*/ 410593 h 600411"/>
              <a:gd name="connsiteX222" fmla="*/ 315875 w 605882"/>
              <a:gd name="connsiteY222" fmla="*/ 407727 h 600411"/>
              <a:gd name="connsiteX223" fmla="*/ 308697 w 605882"/>
              <a:gd name="connsiteY223" fmla="*/ 412027 h 600411"/>
              <a:gd name="connsiteX224" fmla="*/ 308697 w 605882"/>
              <a:gd name="connsiteY224" fmla="*/ 406293 h 600411"/>
              <a:gd name="connsiteX225" fmla="*/ 294340 w 605882"/>
              <a:gd name="connsiteY225" fmla="*/ 397693 h 600411"/>
              <a:gd name="connsiteX226" fmla="*/ 287162 w 605882"/>
              <a:gd name="connsiteY226" fmla="*/ 406293 h 600411"/>
              <a:gd name="connsiteX227" fmla="*/ 274241 w 605882"/>
              <a:gd name="connsiteY227" fmla="*/ 414894 h 600411"/>
              <a:gd name="connsiteX228" fmla="*/ 267062 w 605882"/>
              <a:gd name="connsiteY228" fmla="*/ 407727 h 600411"/>
              <a:gd name="connsiteX229" fmla="*/ 268498 w 605882"/>
              <a:gd name="connsiteY229" fmla="*/ 399126 h 600411"/>
              <a:gd name="connsiteX230" fmla="*/ 279983 w 605882"/>
              <a:gd name="connsiteY230" fmla="*/ 396259 h 600411"/>
              <a:gd name="connsiteX231" fmla="*/ 277112 w 605882"/>
              <a:gd name="connsiteY231" fmla="*/ 384792 h 600411"/>
              <a:gd name="connsiteX232" fmla="*/ 282855 w 605882"/>
              <a:gd name="connsiteY232" fmla="*/ 381925 h 600411"/>
              <a:gd name="connsiteX233" fmla="*/ 295776 w 605882"/>
              <a:gd name="connsiteY233" fmla="*/ 370458 h 600411"/>
              <a:gd name="connsiteX234" fmla="*/ 300083 w 605882"/>
              <a:gd name="connsiteY234" fmla="*/ 367591 h 600411"/>
              <a:gd name="connsiteX235" fmla="*/ 313004 w 605882"/>
              <a:gd name="connsiteY235" fmla="*/ 370458 h 600411"/>
              <a:gd name="connsiteX236" fmla="*/ 321618 w 605882"/>
              <a:gd name="connsiteY236" fmla="*/ 358991 h 600411"/>
              <a:gd name="connsiteX237" fmla="*/ 318747 w 605882"/>
              <a:gd name="connsiteY237" fmla="*/ 351824 h 600411"/>
              <a:gd name="connsiteX238" fmla="*/ 313004 w 605882"/>
              <a:gd name="connsiteY238" fmla="*/ 360424 h 600411"/>
              <a:gd name="connsiteX239" fmla="*/ 304390 w 605882"/>
              <a:gd name="connsiteY239" fmla="*/ 360424 h 600411"/>
              <a:gd name="connsiteX240" fmla="*/ 301519 w 605882"/>
              <a:gd name="connsiteY240" fmla="*/ 353257 h 600411"/>
              <a:gd name="connsiteX241" fmla="*/ 292905 w 605882"/>
              <a:gd name="connsiteY241" fmla="*/ 346090 h 600411"/>
              <a:gd name="connsiteX242" fmla="*/ 304390 w 605882"/>
              <a:gd name="connsiteY242" fmla="*/ 326023 h 600411"/>
              <a:gd name="connsiteX243" fmla="*/ 330232 w 605882"/>
              <a:gd name="connsiteY243" fmla="*/ 300222 h 600411"/>
              <a:gd name="connsiteX244" fmla="*/ 338846 w 605882"/>
              <a:gd name="connsiteY244" fmla="*/ 305955 h 600411"/>
              <a:gd name="connsiteX245" fmla="*/ 346025 w 605882"/>
              <a:gd name="connsiteY245" fmla="*/ 313122 h 600411"/>
              <a:gd name="connsiteX246" fmla="*/ 354639 w 605882"/>
              <a:gd name="connsiteY246" fmla="*/ 318856 h 600411"/>
              <a:gd name="connsiteX247" fmla="*/ 360381 w 605882"/>
              <a:gd name="connsiteY247" fmla="*/ 318856 h 600411"/>
              <a:gd name="connsiteX248" fmla="*/ 380481 w 605882"/>
              <a:gd name="connsiteY248" fmla="*/ 313122 h 600411"/>
              <a:gd name="connsiteX249" fmla="*/ 387659 w 605882"/>
              <a:gd name="connsiteY249" fmla="*/ 310255 h 600411"/>
              <a:gd name="connsiteX250" fmla="*/ 400580 w 605882"/>
              <a:gd name="connsiteY250" fmla="*/ 301655 h 600411"/>
              <a:gd name="connsiteX251" fmla="*/ 410630 w 605882"/>
              <a:gd name="connsiteY251" fmla="*/ 298788 h 600411"/>
              <a:gd name="connsiteX252" fmla="*/ 414937 w 605882"/>
              <a:gd name="connsiteY252" fmla="*/ 294488 h 600411"/>
              <a:gd name="connsiteX253" fmla="*/ 422116 w 605882"/>
              <a:gd name="connsiteY253" fmla="*/ 297355 h 600411"/>
              <a:gd name="connsiteX254" fmla="*/ 422116 w 605882"/>
              <a:gd name="connsiteY254" fmla="*/ 285888 h 600411"/>
              <a:gd name="connsiteX255" fmla="*/ 432165 w 605882"/>
              <a:gd name="connsiteY255" fmla="*/ 281587 h 600411"/>
              <a:gd name="connsiteX256" fmla="*/ 440779 w 605882"/>
              <a:gd name="connsiteY256" fmla="*/ 272987 h 600411"/>
              <a:gd name="connsiteX257" fmla="*/ 465186 w 605882"/>
              <a:gd name="connsiteY257" fmla="*/ 265820 h 600411"/>
              <a:gd name="connsiteX258" fmla="*/ 303047 w 605882"/>
              <a:gd name="connsiteY258" fmla="*/ 50867 h 600411"/>
              <a:gd name="connsiteX259" fmla="*/ 245632 w 605882"/>
              <a:gd name="connsiteY259" fmla="*/ 106785 h 600411"/>
              <a:gd name="connsiteX260" fmla="*/ 303047 w 605882"/>
              <a:gd name="connsiteY260" fmla="*/ 164137 h 600411"/>
              <a:gd name="connsiteX261" fmla="*/ 359027 w 605882"/>
              <a:gd name="connsiteY261" fmla="*/ 106785 h 600411"/>
              <a:gd name="connsiteX262" fmla="*/ 303047 w 605882"/>
              <a:gd name="connsiteY262" fmla="*/ 50867 h 600411"/>
              <a:gd name="connsiteX263" fmla="*/ 292999 w 605882"/>
              <a:gd name="connsiteY263" fmla="*/ 684 h 600411"/>
              <a:gd name="connsiteX264" fmla="*/ 410700 w 605882"/>
              <a:gd name="connsiteY264" fmla="*/ 106785 h 600411"/>
              <a:gd name="connsiteX265" fmla="*/ 310224 w 605882"/>
              <a:gd name="connsiteY265" fmla="*/ 283142 h 600411"/>
              <a:gd name="connsiteX266" fmla="*/ 295870 w 605882"/>
              <a:gd name="connsiteY266" fmla="*/ 283142 h 600411"/>
              <a:gd name="connsiteX267" fmla="*/ 196829 w 605882"/>
              <a:gd name="connsiteY267" fmla="*/ 129726 h 600411"/>
              <a:gd name="connsiteX268" fmla="*/ 292999 w 605882"/>
              <a:gd name="connsiteY268" fmla="*/ 684 h 600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</a:cxnLst>
            <a:rect l="l" t="t" r="r" b="b"/>
            <a:pathLst>
              <a:path w="605882" h="600411">
                <a:moveTo>
                  <a:pt x="509642" y="502443"/>
                </a:moveTo>
                <a:cubicBezTo>
                  <a:pt x="513956" y="502443"/>
                  <a:pt x="515394" y="503879"/>
                  <a:pt x="515394" y="505314"/>
                </a:cubicBezTo>
                <a:cubicBezTo>
                  <a:pt x="515394" y="506750"/>
                  <a:pt x="513956" y="509621"/>
                  <a:pt x="515394" y="509621"/>
                </a:cubicBezTo>
                <a:cubicBezTo>
                  <a:pt x="518270" y="509621"/>
                  <a:pt x="524022" y="506750"/>
                  <a:pt x="525460" y="502443"/>
                </a:cubicBezTo>
                <a:cubicBezTo>
                  <a:pt x="525460" y="498137"/>
                  <a:pt x="529773" y="506750"/>
                  <a:pt x="531211" y="511056"/>
                </a:cubicBezTo>
                <a:cubicBezTo>
                  <a:pt x="532649" y="516798"/>
                  <a:pt x="539839" y="522540"/>
                  <a:pt x="542715" y="526846"/>
                </a:cubicBezTo>
                <a:cubicBezTo>
                  <a:pt x="547029" y="529717"/>
                  <a:pt x="545591" y="534023"/>
                  <a:pt x="544153" y="536894"/>
                </a:cubicBezTo>
                <a:cubicBezTo>
                  <a:pt x="542715" y="541200"/>
                  <a:pt x="541277" y="548377"/>
                  <a:pt x="539839" y="552684"/>
                </a:cubicBezTo>
                <a:cubicBezTo>
                  <a:pt x="538401" y="555555"/>
                  <a:pt x="532649" y="556990"/>
                  <a:pt x="531211" y="556990"/>
                </a:cubicBezTo>
                <a:cubicBezTo>
                  <a:pt x="529773" y="556990"/>
                  <a:pt x="526898" y="556990"/>
                  <a:pt x="522584" y="555555"/>
                </a:cubicBezTo>
                <a:cubicBezTo>
                  <a:pt x="519708" y="555555"/>
                  <a:pt x="518270" y="551248"/>
                  <a:pt x="515394" y="549813"/>
                </a:cubicBezTo>
                <a:cubicBezTo>
                  <a:pt x="513956" y="548377"/>
                  <a:pt x="511080" y="544071"/>
                  <a:pt x="508204" y="542636"/>
                </a:cubicBezTo>
                <a:cubicBezTo>
                  <a:pt x="506766" y="541200"/>
                  <a:pt x="490948" y="546942"/>
                  <a:pt x="488072" y="548377"/>
                </a:cubicBezTo>
                <a:cubicBezTo>
                  <a:pt x="483758" y="549813"/>
                  <a:pt x="482320" y="549813"/>
                  <a:pt x="479444" y="548377"/>
                </a:cubicBezTo>
                <a:cubicBezTo>
                  <a:pt x="473692" y="546942"/>
                  <a:pt x="478006" y="539765"/>
                  <a:pt x="478006" y="536894"/>
                </a:cubicBezTo>
                <a:cubicBezTo>
                  <a:pt x="478006" y="534023"/>
                  <a:pt x="476568" y="528281"/>
                  <a:pt x="476568" y="523975"/>
                </a:cubicBezTo>
                <a:cubicBezTo>
                  <a:pt x="476568" y="521104"/>
                  <a:pt x="485196" y="519669"/>
                  <a:pt x="488072" y="518233"/>
                </a:cubicBezTo>
                <a:cubicBezTo>
                  <a:pt x="489510" y="518233"/>
                  <a:pt x="492386" y="512492"/>
                  <a:pt x="493824" y="509621"/>
                </a:cubicBezTo>
                <a:cubicBezTo>
                  <a:pt x="496700" y="508185"/>
                  <a:pt x="499576" y="508185"/>
                  <a:pt x="501014" y="509621"/>
                </a:cubicBezTo>
                <a:cubicBezTo>
                  <a:pt x="502452" y="509621"/>
                  <a:pt x="503890" y="503879"/>
                  <a:pt x="509642" y="502443"/>
                </a:cubicBezTo>
                <a:close/>
                <a:moveTo>
                  <a:pt x="510755" y="484065"/>
                </a:moveTo>
                <a:cubicBezTo>
                  <a:pt x="512555" y="484423"/>
                  <a:pt x="514714" y="485139"/>
                  <a:pt x="515433" y="485139"/>
                </a:cubicBezTo>
                <a:cubicBezTo>
                  <a:pt x="516873" y="486572"/>
                  <a:pt x="521191" y="485139"/>
                  <a:pt x="525509" y="486572"/>
                </a:cubicBezTo>
                <a:cubicBezTo>
                  <a:pt x="531266" y="488004"/>
                  <a:pt x="529827" y="489436"/>
                  <a:pt x="534145" y="490869"/>
                </a:cubicBezTo>
                <a:cubicBezTo>
                  <a:pt x="538463" y="492301"/>
                  <a:pt x="537024" y="492301"/>
                  <a:pt x="537024" y="493734"/>
                </a:cubicBezTo>
                <a:cubicBezTo>
                  <a:pt x="537024" y="495166"/>
                  <a:pt x="538463" y="498031"/>
                  <a:pt x="539902" y="499464"/>
                </a:cubicBezTo>
                <a:cubicBezTo>
                  <a:pt x="539902" y="500896"/>
                  <a:pt x="537024" y="500896"/>
                  <a:pt x="534145" y="500896"/>
                </a:cubicBezTo>
                <a:cubicBezTo>
                  <a:pt x="531266" y="500896"/>
                  <a:pt x="529827" y="498031"/>
                  <a:pt x="525509" y="499464"/>
                </a:cubicBezTo>
                <a:cubicBezTo>
                  <a:pt x="522630" y="499464"/>
                  <a:pt x="519751" y="496599"/>
                  <a:pt x="516873" y="495166"/>
                </a:cubicBezTo>
                <a:cubicBezTo>
                  <a:pt x="513994" y="493734"/>
                  <a:pt x="518312" y="492301"/>
                  <a:pt x="516873" y="490869"/>
                </a:cubicBezTo>
                <a:cubicBezTo>
                  <a:pt x="515433" y="489436"/>
                  <a:pt x="509676" y="489436"/>
                  <a:pt x="508237" y="485139"/>
                </a:cubicBezTo>
                <a:cubicBezTo>
                  <a:pt x="507517" y="483707"/>
                  <a:pt x="508956" y="483707"/>
                  <a:pt x="510755" y="484065"/>
                </a:cubicBezTo>
                <a:close/>
                <a:moveTo>
                  <a:pt x="447040" y="472502"/>
                </a:moveTo>
                <a:cubicBezTo>
                  <a:pt x="449014" y="473756"/>
                  <a:pt x="451526" y="475908"/>
                  <a:pt x="452243" y="476625"/>
                </a:cubicBezTo>
                <a:cubicBezTo>
                  <a:pt x="452243" y="476625"/>
                  <a:pt x="459420" y="482361"/>
                  <a:pt x="462290" y="485229"/>
                </a:cubicBezTo>
                <a:cubicBezTo>
                  <a:pt x="465161" y="488097"/>
                  <a:pt x="466596" y="483795"/>
                  <a:pt x="468032" y="480927"/>
                </a:cubicBezTo>
                <a:cubicBezTo>
                  <a:pt x="469467" y="478059"/>
                  <a:pt x="472337" y="478059"/>
                  <a:pt x="476643" y="476625"/>
                </a:cubicBezTo>
                <a:cubicBezTo>
                  <a:pt x="480949" y="475191"/>
                  <a:pt x="479514" y="476625"/>
                  <a:pt x="480949" y="479493"/>
                </a:cubicBezTo>
                <a:cubicBezTo>
                  <a:pt x="480949" y="480927"/>
                  <a:pt x="479514" y="485229"/>
                  <a:pt x="479514" y="486663"/>
                </a:cubicBezTo>
                <a:cubicBezTo>
                  <a:pt x="479514" y="488097"/>
                  <a:pt x="483820" y="483795"/>
                  <a:pt x="486690" y="480927"/>
                </a:cubicBezTo>
                <a:cubicBezTo>
                  <a:pt x="489561" y="479493"/>
                  <a:pt x="493867" y="479493"/>
                  <a:pt x="493867" y="482361"/>
                </a:cubicBezTo>
                <a:cubicBezTo>
                  <a:pt x="495302" y="483795"/>
                  <a:pt x="493867" y="488097"/>
                  <a:pt x="495302" y="490966"/>
                </a:cubicBezTo>
                <a:cubicBezTo>
                  <a:pt x="495302" y="493834"/>
                  <a:pt x="492432" y="492400"/>
                  <a:pt x="489561" y="495268"/>
                </a:cubicBezTo>
                <a:cubicBezTo>
                  <a:pt x="486690" y="496702"/>
                  <a:pt x="485255" y="495268"/>
                  <a:pt x="482385" y="493834"/>
                </a:cubicBezTo>
                <a:cubicBezTo>
                  <a:pt x="479514" y="493834"/>
                  <a:pt x="480949" y="496702"/>
                  <a:pt x="479514" y="498136"/>
                </a:cubicBezTo>
                <a:cubicBezTo>
                  <a:pt x="478079" y="498136"/>
                  <a:pt x="472337" y="496702"/>
                  <a:pt x="469467" y="493834"/>
                </a:cubicBezTo>
                <a:cubicBezTo>
                  <a:pt x="465161" y="492400"/>
                  <a:pt x="465161" y="492400"/>
                  <a:pt x="462290" y="493834"/>
                </a:cubicBezTo>
                <a:cubicBezTo>
                  <a:pt x="459420" y="496702"/>
                  <a:pt x="457985" y="492400"/>
                  <a:pt x="455114" y="489532"/>
                </a:cubicBezTo>
                <a:cubicBezTo>
                  <a:pt x="452243" y="486663"/>
                  <a:pt x="447937" y="478059"/>
                  <a:pt x="445067" y="473757"/>
                </a:cubicBezTo>
                <a:cubicBezTo>
                  <a:pt x="443631" y="470888"/>
                  <a:pt x="445067" y="471247"/>
                  <a:pt x="447040" y="472502"/>
                </a:cubicBezTo>
                <a:close/>
                <a:moveTo>
                  <a:pt x="526863" y="387676"/>
                </a:moveTo>
                <a:cubicBezTo>
                  <a:pt x="527580" y="386597"/>
                  <a:pt x="528297" y="386237"/>
                  <a:pt x="528297" y="387676"/>
                </a:cubicBezTo>
                <a:cubicBezTo>
                  <a:pt x="529731" y="390553"/>
                  <a:pt x="531165" y="394869"/>
                  <a:pt x="529731" y="397747"/>
                </a:cubicBezTo>
                <a:cubicBezTo>
                  <a:pt x="526863" y="399185"/>
                  <a:pt x="525429" y="400624"/>
                  <a:pt x="525429" y="404940"/>
                </a:cubicBezTo>
                <a:cubicBezTo>
                  <a:pt x="525429" y="410695"/>
                  <a:pt x="526863" y="413572"/>
                  <a:pt x="521127" y="416450"/>
                </a:cubicBezTo>
                <a:cubicBezTo>
                  <a:pt x="516824" y="419327"/>
                  <a:pt x="501049" y="429398"/>
                  <a:pt x="503917" y="425082"/>
                </a:cubicBezTo>
                <a:cubicBezTo>
                  <a:pt x="503917" y="425082"/>
                  <a:pt x="505352" y="420766"/>
                  <a:pt x="508220" y="417888"/>
                </a:cubicBezTo>
                <a:cubicBezTo>
                  <a:pt x="512522" y="415011"/>
                  <a:pt x="515390" y="415011"/>
                  <a:pt x="516824" y="410695"/>
                </a:cubicBezTo>
                <a:cubicBezTo>
                  <a:pt x="519692" y="406379"/>
                  <a:pt x="518258" y="407817"/>
                  <a:pt x="521127" y="402063"/>
                </a:cubicBezTo>
                <a:cubicBezTo>
                  <a:pt x="522561" y="396308"/>
                  <a:pt x="523995" y="394869"/>
                  <a:pt x="525429" y="391992"/>
                </a:cubicBezTo>
                <a:cubicBezTo>
                  <a:pt x="525429" y="390553"/>
                  <a:pt x="526146" y="388755"/>
                  <a:pt x="526863" y="387676"/>
                </a:cubicBezTo>
                <a:close/>
                <a:moveTo>
                  <a:pt x="15955" y="301859"/>
                </a:moveTo>
                <a:cubicBezTo>
                  <a:pt x="17391" y="300426"/>
                  <a:pt x="23134" y="300426"/>
                  <a:pt x="26006" y="301859"/>
                </a:cubicBezTo>
                <a:cubicBezTo>
                  <a:pt x="27442" y="301859"/>
                  <a:pt x="31749" y="301859"/>
                  <a:pt x="34621" y="304725"/>
                </a:cubicBezTo>
                <a:cubicBezTo>
                  <a:pt x="36056" y="306158"/>
                  <a:pt x="48978" y="309024"/>
                  <a:pt x="51850" y="309024"/>
                </a:cubicBezTo>
                <a:cubicBezTo>
                  <a:pt x="54722" y="310457"/>
                  <a:pt x="57593" y="307591"/>
                  <a:pt x="60465" y="307591"/>
                </a:cubicBezTo>
                <a:cubicBezTo>
                  <a:pt x="63336" y="307591"/>
                  <a:pt x="71951" y="309024"/>
                  <a:pt x="73387" y="307591"/>
                </a:cubicBezTo>
                <a:cubicBezTo>
                  <a:pt x="76258" y="306158"/>
                  <a:pt x="80566" y="309024"/>
                  <a:pt x="80566" y="309024"/>
                </a:cubicBezTo>
                <a:cubicBezTo>
                  <a:pt x="82002" y="310457"/>
                  <a:pt x="106410" y="314756"/>
                  <a:pt x="113589" y="313323"/>
                </a:cubicBezTo>
                <a:cubicBezTo>
                  <a:pt x="119332" y="310457"/>
                  <a:pt x="122204" y="309024"/>
                  <a:pt x="123640" y="311890"/>
                </a:cubicBezTo>
                <a:cubicBezTo>
                  <a:pt x="125075" y="314756"/>
                  <a:pt x="132254" y="309024"/>
                  <a:pt x="137998" y="307591"/>
                </a:cubicBezTo>
                <a:cubicBezTo>
                  <a:pt x="142305" y="306158"/>
                  <a:pt x="146612" y="314756"/>
                  <a:pt x="146612" y="320488"/>
                </a:cubicBezTo>
                <a:cubicBezTo>
                  <a:pt x="146612" y="326220"/>
                  <a:pt x="143741" y="324787"/>
                  <a:pt x="143741" y="327653"/>
                </a:cubicBezTo>
                <a:cubicBezTo>
                  <a:pt x="143741" y="331953"/>
                  <a:pt x="146612" y="331953"/>
                  <a:pt x="146612" y="333386"/>
                </a:cubicBezTo>
                <a:cubicBezTo>
                  <a:pt x="146612" y="336252"/>
                  <a:pt x="143741" y="334819"/>
                  <a:pt x="142305" y="336252"/>
                </a:cubicBezTo>
                <a:cubicBezTo>
                  <a:pt x="140869" y="339118"/>
                  <a:pt x="137998" y="339118"/>
                  <a:pt x="135126" y="337685"/>
                </a:cubicBezTo>
                <a:cubicBezTo>
                  <a:pt x="132254" y="336252"/>
                  <a:pt x="132254" y="337685"/>
                  <a:pt x="127947" y="340551"/>
                </a:cubicBezTo>
                <a:cubicBezTo>
                  <a:pt x="123640" y="343417"/>
                  <a:pt x="125075" y="346283"/>
                  <a:pt x="123640" y="352015"/>
                </a:cubicBezTo>
                <a:cubicBezTo>
                  <a:pt x="123640" y="357747"/>
                  <a:pt x="126511" y="356314"/>
                  <a:pt x="129383" y="359180"/>
                </a:cubicBezTo>
                <a:cubicBezTo>
                  <a:pt x="133690" y="362046"/>
                  <a:pt x="136562" y="363479"/>
                  <a:pt x="140869" y="363479"/>
                </a:cubicBezTo>
                <a:cubicBezTo>
                  <a:pt x="145176" y="363479"/>
                  <a:pt x="143741" y="369211"/>
                  <a:pt x="143741" y="372077"/>
                </a:cubicBezTo>
                <a:cubicBezTo>
                  <a:pt x="143741" y="374943"/>
                  <a:pt x="145176" y="374943"/>
                  <a:pt x="148048" y="374943"/>
                </a:cubicBezTo>
                <a:cubicBezTo>
                  <a:pt x="150920" y="374943"/>
                  <a:pt x="148048" y="366345"/>
                  <a:pt x="150920" y="364912"/>
                </a:cubicBezTo>
                <a:cubicBezTo>
                  <a:pt x="153791" y="363479"/>
                  <a:pt x="152355" y="359180"/>
                  <a:pt x="149484" y="354881"/>
                </a:cubicBezTo>
                <a:cubicBezTo>
                  <a:pt x="148048" y="352015"/>
                  <a:pt x="150920" y="346283"/>
                  <a:pt x="150920" y="343417"/>
                </a:cubicBezTo>
                <a:cubicBezTo>
                  <a:pt x="150920" y="340551"/>
                  <a:pt x="153791" y="339118"/>
                  <a:pt x="156663" y="340551"/>
                </a:cubicBezTo>
                <a:cubicBezTo>
                  <a:pt x="159534" y="340551"/>
                  <a:pt x="162406" y="341984"/>
                  <a:pt x="163842" y="343417"/>
                </a:cubicBezTo>
                <a:cubicBezTo>
                  <a:pt x="166713" y="344850"/>
                  <a:pt x="165278" y="344850"/>
                  <a:pt x="168149" y="349149"/>
                </a:cubicBezTo>
                <a:cubicBezTo>
                  <a:pt x="169585" y="353448"/>
                  <a:pt x="172457" y="349149"/>
                  <a:pt x="173892" y="346283"/>
                </a:cubicBezTo>
                <a:cubicBezTo>
                  <a:pt x="175328" y="341984"/>
                  <a:pt x="178200" y="346283"/>
                  <a:pt x="179635" y="352015"/>
                </a:cubicBezTo>
                <a:cubicBezTo>
                  <a:pt x="182507" y="357747"/>
                  <a:pt x="182507" y="359180"/>
                  <a:pt x="186815" y="363479"/>
                </a:cubicBezTo>
                <a:cubicBezTo>
                  <a:pt x="191122" y="369211"/>
                  <a:pt x="193994" y="380675"/>
                  <a:pt x="195430" y="384974"/>
                </a:cubicBezTo>
                <a:cubicBezTo>
                  <a:pt x="198301" y="389273"/>
                  <a:pt x="196865" y="389273"/>
                  <a:pt x="193994" y="389273"/>
                </a:cubicBezTo>
                <a:cubicBezTo>
                  <a:pt x="191122" y="387840"/>
                  <a:pt x="183943" y="392139"/>
                  <a:pt x="181071" y="393572"/>
                </a:cubicBezTo>
                <a:cubicBezTo>
                  <a:pt x="179635" y="395005"/>
                  <a:pt x="175328" y="396438"/>
                  <a:pt x="171021" y="399304"/>
                </a:cubicBezTo>
                <a:cubicBezTo>
                  <a:pt x="168149" y="400737"/>
                  <a:pt x="166713" y="403604"/>
                  <a:pt x="163842" y="405037"/>
                </a:cubicBezTo>
                <a:cubicBezTo>
                  <a:pt x="159534" y="406470"/>
                  <a:pt x="159534" y="409336"/>
                  <a:pt x="156663" y="413635"/>
                </a:cubicBezTo>
                <a:cubicBezTo>
                  <a:pt x="153791" y="419367"/>
                  <a:pt x="148048" y="423666"/>
                  <a:pt x="148048" y="427965"/>
                </a:cubicBezTo>
                <a:cubicBezTo>
                  <a:pt x="146612" y="430831"/>
                  <a:pt x="148048" y="436563"/>
                  <a:pt x="145176" y="436563"/>
                </a:cubicBezTo>
                <a:cubicBezTo>
                  <a:pt x="143741" y="437996"/>
                  <a:pt x="142305" y="430831"/>
                  <a:pt x="139433" y="429398"/>
                </a:cubicBezTo>
                <a:cubicBezTo>
                  <a:pt x="137998" y="427965"/>
                  <a:pt x="130819" y="426532"/>
                  <a:pt x="123640" y="427965"/>
                </a:cubicBezTo>
                <a:cubicBezTo>
                  <a:pt x="115025" y="430831"/>
                  <a:pt x="120768" y="443728"/>
                  <a:pt x="122204" y="446594"/>
                </a:cubicBezTo>
                <a:cubicBezTo>
                  <a:pt x="122204" y="449460"/>
                  <a:pt x="130819" y="443728"/>
                  <a:pt x="132254" y="440862"/>
                </a:cubicBezTo>
                <a:cubicBezTo>
                  <a:pt x="135126" y="437996"/>
                  <a:pt x="136562" y="442295"/>
                  <a:pt x="136562" y="445161"/>
                </a:cubicBezTo>
                <a:cubicBezTo>
                  <a:pt x="136562" y="448027"/>
                  <a:pt x="135126" y="452326"/>
                  <a:pt x="137998" y="452326"/>
                </a:cubicBezTo>
                <a:cubicBezTo>
                  <a:pt x="140869" y="453759"/>
                  <a:pt x="142305" y="453759"/>
                  <a:pt x="145176" y="459491"/>
                </a:cubicBezTo>
                <a:cubicBezTo>
                  <a:pt x="146612" y="463790"/>
                  <a:pt x="152355" y="462357"/>
                  <a:pt x="156663" y="459491"/>
                </a:cubicBezTo>
                <a:cubicBezTo>
                  <a:pt x="160970" y="456625"/>
                  <a:pt x="179635" y="462357"/>
                  <a:pt x="181071" y="463790"/>
                </a:cubicBezTo>
                <a:cubicBezTo>
                  <a:pt x="183943" y="465223"/>
                  <a:pt x="189686" y="465223"/>
                  <a:pt x="192558" y="469522"/>
                </a:cubicBezTo>
                <a:cubicBezTo>
                  <a:pt x="195430" y="472388"/>
                  <a:pt x="205480" y="482420"/>
                  <a:pt x="206916" y="482420"/>
                </a:cubicBezTo>
                <a:cubicBezTo>
                  <a:pt x="206916" y="483853"/>
                  <a:pt x="222710" y="485286"/>
                  <a:pt x="228453" y="489585"/>
                </a:cubicBezTo>
                <a:cubicBezTo>
                  <a:pt x="232760" y="492451"/>
                  <a:pt x="225581" y="506781"/>
                  <a:pt x="224145" y="513946"/>
                </a:cubicBezTo>
                <a:cubicBezTo>
                  <a:pt x="222710" y="521111"/>
                  <a:pt x="216967" y="525410"/>
                  <a:pt x="214095" y="526843"/>
                </a:cubicBezTo>
                <a:cubicBezTo>
                  <a:pt x="211223" y="528276"/>
                  <a:pt x="193994" y="551204"/>
                  <a:pt x="191122" y="554071"/>
                </a:cubicBezTo>
                <a:cubicBezTo>
                  <a:pt x="188251" y="556937"/>
                  <a:pt x="178200" y="564102"/>
                  <a:pt x="176764" y="566968"/>
                </a:cubicBezTo>
                <a:cubicBezTo>
                  <a:pt x="173892" y="569834"/>
                  <a:pt x="173892" y="572700"/>
                  <a:pt x="173892" y="575566"/>
                </a:cubicBezTo>
                <a:cubicBezTo>
                  <a:pt x="175328" y="579865"/>
                  <a:pt x="175328" y="581298"/>
                  <a:pt x="173892" y="585597"/>
                </a:cubicBezTo>
                <a:cubicBezTo>
                  <a:pt x="172457" y="588463"/>
                  <a:pt x="171021" y="592762"/>
                  <a:pt x="173892" y="595628"/>
                </a:cubicBezTo>
                <a:cubicBezTo>
                  <a:pt x="175328" y="599927"/>
                  <a:pt x="176764" y="599927"/>
                  <a:pt x="173892" y="599927"/>
                </a:cubicBezTo>
                <a:cubicBezTo>
                  <a:pt x="171021" y="601360"/>
                  <a:pt x="163842" y="599927"/>
                  <a:pt x="159534" y="591329"/>
                </a:cubicBezTo>
                <a:cubicBezTo>
                  <a:pt x="153791" y="584164"/>
                  <a:pt x="159534" y="565535"/>
                  <a:pt x="159534" y="561236"/>
                </a:cubicBezTo>
                <a:cubicBezTo>
                  <a:pt x="159534" y="555504"/>
                  <a:pt x="163842" y="529709"/>
                  <a:pt x="163842" y="523977"/>
                </a:cubicBezTo>
                <a:cubicBezTo>
                  <a:pt x="165278" y="518245"/>
                  <a:pt x="160970" y="513946"/>
                  <a:pt x="158099" y="512513"/>
                </a:cubicBezTo>
                <a:cubicBezTo>
                  <a:pt x="153791" y="509647"/>
                  <a:pt x="149484" y="498183"/>
                  <a:pt x="146612" y="493884"/>
                </a:cubicBezTo>
                <a:cubicBezTo>
                  <a:pt x="145176" y="489585"/>
                  <a:pt x="146612" y="485286"/>
                  <a:pt x="148048" y="480987"/>
                </a:cubicBezTo>
                <a:cubicBezTo>
                  <a:pt x="149484" y="478120"/>
                  <a:pt x="149484" y="473821"/>
                  <a:pt x="148048" y="470955"/>
                </a:cubicBezTo>
                <a:cubicBezTo>
                  <a:pt x="146612" y="468089"/>
                  <a:pt x="139433" y="463790"/>
                  <a:pt x="136562" y="462357"/>
                </a:cubicBezTo>
                <a:cubicBezTo>
                  <a:pt x="133690" y="460924"/>
                  <a:pt x="130819" y="459491"/>
                  <a:pt x="127947" y="456625"/>
                </a:cubicBezTo>
                <a:cubicBezTo>
                  <a:pt x="125075" y="453759"/>
                  <a:pt x="120768" y="453759"/>
                  <a:pt x="113589" y="452326"/>
                </a:cubicBezTo>
                <a:cubicBezTo>
                  <a:pt x="106410" y="450893"/>
                  <a:pt x="102103" y="440862"/>
                  <a:pt x="99231" y="437996"/>
                </a:cubicBezTo>
                <a:cubicBezTo>
                  <a:pt x="97795" y="435130"/>
                  <a:pt x="97795" y="439429"/>
                  <a:pt x="97795" y="443728"/>
                </a:cubicBezTo>
                <a:cubicBezTo>
                  <a:pt x="96360" y="448027"/>
                  <a:pt x="87745" y="429398"/>
                  <a:pt x="80566" y="420800"/>
                </a:cubicBezTo>
                <a:cubicBezTo>
                  <a:pt x="71951" y="410769"/>
                  <a:pt x="71951" y="393572"/>
                  <a:pt x="71951" y="387840"/>
                </a:cubicBezTo>
                <a:cubicBezTo>
                  <a:pt x="71951" y="383541"/>
                  <a:pt x="64772" y="372077"/>
                  <a:pt x="57593" y="367778"/>
                </a:cubicBezTo>
                <a:cubicBezTo>
                  <a:pt x="48978" y="363479"/>
                  <a:pt x="47543" y="357747"/>
                  <a:pt x="46107" y="352015"/>
                </a:cubicBezTo>
                <a:cubicBezTo>
                  <a:pt x="43235" y="347716"/>
                  <a:pt x="36056" y="347716"/>
                  <a:pt x="30313" y="352015"/>
                </a:cubicBezTo>
                <a:cubicBezTo>
                  <a:pt x="24570" y="356314"/>
                  <a:pt x="17391" y="354881"/>
                  <a:pt x="8776" y="352015"/>
                </a:cubicBezTo>
                <a:cubicBezTo>
                  <a:pt x="162" y="349149"/>
                  <a:pt x="3033" y="334819"/>
                  <a:pt x="162" y="329087"/>
                </a:cubicBezTo>
                <a:cubicBezTo>
                  <a:pt x="-1274" y="323354"/>
                  <a:pt x="7340" y="320488"/>
                  <a:pt x="4469" y="316189"/>
                </a:cubicBezTo>
                <a:cubicBezTo>
                  <a:pt x="1597" y="311890"/>
                  <a:pt x="4469" y="311890"/>
                  <a:pt x="7340" y="309024"/>
                </a:cubicBezTo>
                <a:cubicBezTo>
                  <a:pt x="10212" y="307591"/>
                  <a:pt x="14519" y="303292"/>
                  <a:pt x="15955" y="301859"/>
                </a:cubicBezTo>
                <a:close/>
                <a:moveTo>
                  <a:pt x="186781" y="274448"/>
                </a:moveTo>
                <a:lnTo>
                  <a:pt x="257129" y="274448"/>
                </a:lnTo>
                <a:cubicBezTo>
                  <a:pt x="254258" y="278756"/>
                  <a:pt x="251387" y="284499"/>
                  <a:pt x="249951" y="287371"/>
                </a:cubicBezTo>
                <a:cubicBezTo>
                  <a:pt x="248515" y="290242"/>
                  <a:pt x="249951" y="295986"/>
                  <a:pt x="251387" y="301729"/>
                </a:cubicBezTo>
                <a:cubicBezTo>
                  <a:pt x="252822" y="307472"/>
                  <a:pt x="248515" y="308908"/>
                  <a:pt x="245644" y="311780"/>
                </a:cubicBezTo>
                <a:cubicBezTo>
                  <a:pt x="242773" y="316088"/>
                  <a:pt x="228416" y="326138"/>
                  <a:pt x="222673" y="329010"/>
                </a:cubicBezTo>
                <a:cubicBezTo>
                  <a:pt x="218366" y="331882"/>
                  <a:pt x="218366" y="336189"/>
                  <a:pt x="215495" y="341933"/>
                </a:cubicBezTo>
                <a:cubicBezTo>
                  <a:pt x="214059" y="347676"/>
                  <a:pt x="214059" y="351984"/>
                  <a:pt x="211188" y="353419"/>
                </a:cubicBezTo>
                <a:cubicBezTo>
                  <a:pt x="208316" y="356291"/>
                  <a:pt x="209752" y="350548"/>
                  <a:pt x="205445" y="350548"/>
                </a:cubicBezTo>
                <a:cubicBezTo>
                  <a:pt x="202574" y="350548"/>
                  <a:pt x="198267" y="340497"/>
                  <a:pt x="195395" y="331882"/>
                </a:cubicBezTo>
                <a:cubicBezTo>
                  <a:pt x="191088" y="324703"/>
                  <a:pt x="192524" y="317523"/>
                  <a:pt x="192524" y="314652"/>
                </a:cubicBezTo>
                <a:cubicBezTo>
                  <a:pt x="193960" y="311780"/>
                  <a:pt x="193960" y="307472"/>
                  <a:pt x="192524" y="304601"/>
                </a:cubicBezTo>
                <a:cubicBezTo>
                  <a:pt x="191088" y="301729"/>
                  <a:pt x="189653" y="304601"/>
                  <a:pt x="189653" y="297422"/>
                </a:cubicBezTo>
                <a:cubicBezTo>
                  <a:pt x="189653" y="293114"/>
                  <a:pt x="186781" y="278756"/>
                  <a:pt x="186781" y="274448"/>
                </a:cubicBezTo>
                <a:close/>
                <a:moveTo>
                  <a:pt x="465186" y="265820"/>
                </a:moveTo>
                <a:cubicBezTo>
                  <a:pt x="479543" y="262953"/>
                  <a:pt x="485285" y="278721"/>
                  <a:pt x="492464" y="283021"/>
                </a:cubicBezTo>
                <a:cubicBezTo>
                  <a:pt x="501078" y="285888"/>
                  <a:pt x="518306" y="290188"/>
                  <a:pt x="522613" y="290188"/>
                </a:cubicBezTo>
                <a:cubicBezTo>
                  <a:pt x="531227" y="290188"/>
                  <a:pt x="548455" y="294488"/>
                  <a:pt x="549891" y="295921"/>
                </a:cubicBezTo>
                <a:cubicBezTo>
                  <a:pt x="551326" y="297355"/>
                  <a:pt x="564248" y="303088"/>
                  <a:pt x="571426" y="301655"/>
                </a:cubicBezTo>
                <a:cubicBezTo>
                  <a:pt x="577169" y="300222"/>
                  <a:pt x="594397" y="311689"/>
                  <a:pt x="595832" y="314556"/>
                </a:cubicBezTo>
                <a:cubicBezTo>
                  <a:pt x="598704" y="315989"/>
                  <a:pt x="605882" y="321723"/>
                  <a:pt x="605882" y="323156"/>
                </a:cubicBezTo>
                <a:cubicBezTo>
                  <a:pt x="605882" y="326023"/>
                  <a:pt x="601575" y="330323"/>
                  <a:pt x="600140" y="333190"/>
                </a:cubicBezTo>
                <a:cubicBezTo>
                  <a:pt x="597268" y="334623"/>
                  <a:pt x="594397" y="330323"/>
                  <a:pt x="590090" y="330323"/>
                </a:cubicBezTo>
                <a:cubicBezTo>
                  <a:pt x="585783" y="330323"/>
                  <a:pt x="588654" y="334623"/>
                  <a:pt x="587218" y="338923"/>
                </a:cubicBezTo>
                <a:cubicBezTo>
                  <a:pt x="585783" y="343224"/>
                  <a:pt x="569990" y="348957"/>
                  <a:pt x="565683" y="351824"/>
                </a:cubicBezTo>
                <a:cubicBezTo>
                  <a:pt x="561376" y="353257"/>
                  <a:pt x="561376" y="354691"/>
                  <a:pt x="561376" y="357558"/>
                </a:cubicBezTo>
                <a:cubicBezTo>
                  <a:pt x="561376" y="360424"/>
                  <a:pt x="559941" y="363291"/>
                  <a:pt x="555634" y="367591"/>
                </a:cubicBezTo>
                <a:cubicBezTo>
                  <a:pt x="551326" y="371892"/>
                  <a:pt x="548455" y="377625"/>
                  <a:pt x="547019" y="381925"/>
                </a:cubicBezTo>
                <a:cubicBezTo>
                  <a:pt x="545584" y="386226"/>
                  <a:pt x="545584" y="377625"/>
                  <a:pt x="544148" y="373325"/>
                </a:cubicBezTo>
                <a:cubicBezTo>
                  <a:pt x="544148" y="370458"/>
                  <a:pt x="548455" y="353257"/>
                  <a:pt x="534098" y="354691"/>
                </a:cubicBezTo>
                <a:cubicBezTo>
                  <a:pt x="531227" y="354691"/>
                  <a:pt x="525484" y="358991"/>
                  <a:pt x="521177" y="363291"/>
                </a:cubicBezTo>
                <a:cubicBezTo>
                  <a:pt x="518306" y="367591"/>
                  <a:pt x="522613" y="367591"/>
                  <a:pt x="525484" y="370458"/>
                </a:cubicBezTo>
                <a:cubicBezTo>
                  <a:pt x="526920" y="374758"/>
                  <a:pt x="524049" y="379059"/>
                  <a:pt x="522613" y="383359"/>
                </a:cubicBezTo>
                <a:cubicBezTo>
                  <a:pt x="521177" y="389092"/>
                  <a:pt x="508256" y="400560"/>
                  <a:pt x="506820" y="401993"/>
                </a:cubicBezTo>
                <a:cubicBezTo>
                  <a:pt x="505385" y="404860"/>
                  <a:pt x="505385" y="412027"/>
                  <a:pt x="505385" y="414894"/>
                </a:cubicBezTo>
                <a:cubicBezTo>
                  <a:pt x="505385" y="416327"/>
                  <a:pt x="501078" y="416327"/>
                  <a:pt x="496771" y="417760"/>
                </a:cubicBezTo>
                <a:cubicBezTo>
                  <a:pt x="492464" y="419194"/>
                  <a:pt x="496771" y="410593"/>
                  <a:pt x="495335" y="407727"/>
                </a:cubicBezTo>
                <a:cubicBezTo>
                  <a:pt x="493899" y="404860"/>
                  <a:pt x="489592" y="409160"/>
                  <a:pt x="486721" y="413460"/>
                </a:cubicBezTo>
                <a:cubicBezTo>
                  <a:pt x="483850" y="419194"/>
                  <a:pt x="491028" y="423494"/>
                  <a:pt x="489592" y="432094"/>
                </a:cubicBezTo>
                <a:cubicBezTo>
                  <a:pt x="489592" y="442128"/>
                  <a:pt x="473800" y="444995"/>
                  <a:pt x="470929" y="444995"/>
                </a:cubicBezTo>
                <a:cubicBezTo>
                  <a:pt x="468057" y="444995"/>
                  <a:pt x="465186" y="449295"/>
                  <a:pt x="469493" y="455029"/>
                </a:cubicBezTo>
                <a:cubicBezTo>
                  <a:pt x="473800" y="462196"/>
                  <a:pt x="466622" y="463629"/>
                  <a:pt x="462314" y="466496"/>
                </a:cubicBezTo>
                <a:cubicBezTo>
                  <a:pt x="458007" y="469363"/>
                  <a:pt x="458007" y="465063"/>
                  <a:pt x="456572" y="462196"/>
                </a:cubicBezTo>
                <a:cubicBezTo>
                  <a:pt x="453700" y="460762"/>
                  <a:pt x="452265" y="466496"/>
                  <a:pt x="450829" y="469363"/>
                </a:cubicBezTo>
                <a:cubicBezTo>
                  <a:pt x="449393" y="470796"/>
                  <a:pt x="449393" y="462196"/>
                  <a:pt x="449393" y="457896"/>
                </a:cubicBezTo>
                <a:cubicBezTo>
                  <a:pt x="447958" y="453595"/>
                  <a:pt x="439344" y="447862"/>
                  <a:pt x="436472" y="444995"/>
                </a:cubicBezTo>
                <a:cubicBezTo>
                  <a:pt x="435037" y="442128"/>
                  <a:pt x="435037" y="446428"/>
                  <a:pt x="430730" y="449295"/>
                </a:cubicBezTo>
                <a:cubicBezTo>
                  <a:pt x="426423" y="452162"/>
                  <a:pt x="420680" y="463629"/>
                  <a:pt x="419244" y="467929"/>
                </a:cubicBezTo>
                <a:cubicBezTo>
                  <a:pt x="416373" y="472230"/>
                  <a:pt x="414937" y="472230"/>
                  <a:pt x="413501" y="469363"/>
                </a:cubicBezTo>
                <a:cubicBezTo>
                  <a:pt x="412066" y="467929"/>
                  <a:pt x="406323" y="449295"/>
                  <a:pt x="402016" y="446428"/>
                </a:cubicBezTo>
                <a:cubicBezTo>
                  <a:pt x="399145" y="443562"/>
                  <a:pt x="391966" y="437828"/>
                  <a:pt x="384788" y="436395"/>
                </a:cubicBezTo>
                <a:cubicBezTo>
                  <a:pt x="379045" y="436395"/>
                  <a:pt x="377610" y="433528"/>
                  <a:pt x="373302" y="432094"/>
                </a:cubicBezTo>
                <a:cubicBezTo>
                  <a:pt x="368995" y="430661"/>
                  <a:pt x="367560" y="429228"/>
                  <a:pt x="367560" y="432094"/>
                </a:cubicBezTo>
                <a:cubicBezTo>
                  <a:pt x="367560" y="434961"/>
                  <a:pt x="371867" y="436395"/>
                  <a:pt x="376174" y="436395"/>
                </a:cubicBezTo>
                <a:cubicBezTo>
                  <a:pt x="379045" y="436395"/>
                  <a:pt x="381917" y="442128"/>
                  <a:pt x="381917" y="446428"/>
                </a:cubicBezTo>
                <a:cubicBezTo>
                  <a:pt x="381917" y="450729"/>
                  <a:pt x="371867" y="453595"/>
                  <a:pt x="364688" y="456462"/>
                </a:cubicBezTo>
                <a:cubicBezTo>
                  <a:pt x="357510" y="459329"/>
                  <a:pt x="351767" y="446428"/>
                  <a:pt x="350332" y="442128"/>
                </a:cubicBezTo>
                <a:cubicBezTo>
                  <a:pt x="347460" y="437828"/>
                  <a:pt x="344589" y="436395"/>
                  <a:pt x="344589" y="439261"/>
                </a:cubicBezTo>
                <a:cubicBezTo>
                  <a:pt x="344589" y="440695"/>
                  <a:pt x="350332" y="449295"/>
                  <a:pt x="353203" y="455029"/>
                </a:cubicBezTo>
                <a:cubicBezTo>
                  <a:pt x="354639" y="459329"/>
                  <a:pt x="363253" y="459329"/>
                  <a:pt x="368995" y="459329"/>
                </a:cubicBezTo>
                <a:cubicBezTo>
                  <a:pt x="374738" y="459329"/>
                  <a:pt x="371867" y="460762"/>
                  <a:pt x="370431" y="466496"/>
                </a:cubicBezTo>
                <a:cubicBezTo>
                  <a:pt x="368995" y="472230"/>
                  <a:pt x="357510" y="486564"/>
                  <a:pt x="354639" y="489430"/>
                </a:cubicBezTo>
                <a:cubicBezTo>
                  <a:pt x="351767" y="492297"/>
                  <a:pt x="353203" y="505198"/>
                  <a:pt x="353203" y="510931"/>
                </a:cubicBezTo>
                <a:cubicBezTo>
                  <a:pt x="353203" y="516665"/>
                  <a:pt x="347460" y="516665"/>
                  <a:pt x="343153" y="520965"/>
                </a:cubicBezTo>
                <a:cubicBezTo>
                  <a:pt x="340282" y="525265"/>
                  <a:pt x="338846" y="532432"/>
                  <a:pt x="335975" y="539599"/>
                </a:cubicBezTo>
                <a:cubicBezTo>
                  <a:pt x="333104" y="545333"/>
                  <a:pt x="325925" y="548200"/>
                  <a:pt x="317311" y="548200"/>
                </a:cubicBezTo>
                <a:cubicBezTo>
                  <a:pt x="310133" y="549633"/>
                  <a:pt x="313004" y="542466"/>
                  <a:pt x="311568" y="536733"/>
                </a:cubicBezTo>
                <a:cubicBezTo>
                  <a:pt x="310133" y="530999"/>
                  <a:pt x="304390" y="495164"/>
                  <a:pt x="301519" y="489430"/>
                </a:cubicBezTo>
                <a:cubicBezTo>
                  <a:pt x="298647" y="485130"/>
                  <a:pt x="297212" y="483697"/>
                  <a:pt x="298647" y="479397"/>
                </a:cubicBezTo>
                <a:cubicBezTo>
                  <a:pt x="300083" y="473663"/>
                  <a:pt x="291469" y="472230"/>
                  <a:pt x="275676" y="475096"/>
                </a:cubicBezTo>
                <a:cubicBezTo>
                  <a:pt x="259884" y="477963"/>
                  <a:pt x="254141" y="455029"/>
                  <a:pt x="254141" y="446428"/>
                </a:cubicBezTo>
                <a:cubicBezTo>
                  <a:pt x="254141" y="437828"/>
                  <a:pt x="268498" y="422061"/>
                  <a:pt x="269934" y="419194"/>
                </a:cubicBezTo>
                <a:cubicBezTo>
                  <a:pt x="271369" y="417760"/>
                  <a:pt x="271369" y="416327"/>
                  <a:pt x="277112" y="416327"/>
                </a:cubicBezTo>
                <a:cubicBezTo>
                  <a:pt x="281419" y="414894"/>
                  <a:pt x="297212" y="410593"/>
                  <a:pt x="304390" y="413460"/>
                </a:cubicBezTo>
                <a:cubicBezTo>
                  <a:pt x="311568" y="416327"/>
                  <a:pt x="308697" y="420627"/>
                  <a:pt x="314440" y="423494"/>
                </a:cubicBezTo>
                <a:cubicBezTo>
                  <a:pt x="320182" y="426361"/>
                  <a:pt x="325925" y="420627"/>
                  <a:pt x="330232" y="423494"/>
                </a:cubicBezTo>
                <a:cubicBezTo>
                  <a:pt x="335975" y="426361"/>
                  <a:pt x="338846" y="424927"/>
                  <a:pt x="341718" y="420627"/>
                </a:cubicBezTo>
                <a:cubicBezTo>
                  <a:pt x="346025" y="417760"/>
                  <a:pt x="343153" y="414894"/>
                  <a:pt x="341718" y="413460"/>
                </a:cubicBezTo>
                <a:cubicBezTo>
                  <a:pt x="340282" y="413460"/>
                  <a:pt x="333104" y="412027"/>
                  <a:pt x="330232" y="410593"/>
                </a:cubicBezTo>
                <a:cubicBezTo>
                  <a:pt x="327361" y="409160"/>
                  <a:pt x="327361" y="406293"/>
                  <a:pt x="325925" y="410593"/>
                </a:cubicBezTo>
                <a:cubicBezTo>
                  <a:pt x="324489" y="414894"/>
                  <a:pt x="320182" y="412027"/>
                  <a:pt x="320182" y="410593"/>
                </a:cubicBezTo>
                <a:cubicBezTo>
                  <a:pt x="318747" y="409160"/>
                  <a:pt x="317311" y="406293"/>
                  <a:pt x="315875" y="407727"/>
                </a:cubicBezTo>
                <a:cubicBezTo>
                  <a:pt x="314440" y="407727"/>
                  <a:pt x="311568" y="409160"/>
                  <a:pt x="308697" y="412027"/>
                </a:cubicBezTo>
                <a:cubicBezTo>
                  <a:pt x="305826" y="413460"/>
                  <a:pt x="308697" y="407727"/>
                  <a:pt x="308697" y="406293"/>
                </a:cubicBezTo>
                <a:cubicBezTo>
                  <a:pt x="310133" y="403426"/>
                  <a:pt x="300083" y="397693"/>
                  <a:pt x="294340" y="397693"/>
                </a:cubicBezTo>
                <a:cubicBezTo>
                  <a:pt x="290033" y="397693"/>
                  <a:pt x="288598" y="401993"/>
                  <a:pt x="287162" y="406293"/>
                </a:cubicBezTo>
                <a:cubicBezTo>
                  <a:pt x="284290" y="410593"/>
                  <a:pt x="278548" y="412027"/>
                  <a:pt x="274241" y="414894"/>
                </a:cubicBezTo>
                <a:cubicBezTo>
                  <a:pt x="271369" y="416327"/>
                  <a:pt x="268498" y="410593"/>
                  <a:pt x="267062" y="407727"/>
                </a:cubicBezTo>
                <a:cubicBezTo>
                  <a:pt x="267062" y="404860"/>
                  <a:pt x="268498" y="403426"/>
                  <a:pt x="268498" y="399126"/>
                </a:cubicBezTo>
                <a:cubicBezTo>
                  <a:pt x="268498" y="394826"/>
                  <a:pt x="275676" y="396259"/>
                  <a:pt x="279983" y="396259"/>
                </a:cubicBezTo>
                <a:cubicBezTo>
                  <a:pt x="284290" y="396259"/>
                  <a:pt x="279983" y="389092"/>
                  <a:pt x="277112" y="384792"/>
                </a:cubicBezTo>
                <a:cubicBezTo>
                  <a:pt x="274241" y="381925"/>
                  <a:pt x="278548" y="383359"/>
                  <a:pt x="282855" y="381925"/>
                </a:cubicBezTo>
                <a:cubicBezTo>
                  <a:pt x="287162" y="380492"/>
                  <a:pt x="292905" y="373325"/>
                  <a:pt x="295776" y="370458"/>
                </a:cubicBezTo>
                <a:cubicBezTo>
                  <a:pt x="297212" y="369025"/>
                  <a:pt x="298647" y="367591"/>
                  <a:pt x="300083" y="367591"/>
                </a:cubicBezTo>
                <a:cubicBezTo>
                  <a:pt x="301519" y="366158"/>
                  <a:pt x="307261" y="369025"/>
                  <a:pt x="313004" y="370458"/>
                </a:cubicBezTo>
                <a:cubicBezTo>
                  <a:pt x="318747" y="370458"/>
                  <a:pt x="320182" y="363291"/>
                  <a:pt x="321618" y="358991"/>
                </a:cubicBezTo>
                <a:cubicBezTo>
                  <a:pt x="323054" y="354691"/>
                  <a:pt x="321618" y="353257"/>
                  <a:pt x="318747" y="351824"/>
                </a:cubicBezTo>
                <a:cubicBezTo>
                  <a:pt x="315875" y="351824"/>
                  <a:pt x="315875" y="354691"/>
                  <a:pt x="313004" y="360424"/>
                </a:cubicBezTo>
                <a:cubicBezTo>
                  <a:pt x="310133" y="366158"/>
                  <a:pt x="304390" y="361858"/>
                  <a:pt x="304390" y="360424"/>
                </a:cubicBezTo>
                <a:cubicBezTo>
                  <a:pt x="302954" y="360424"/>
                  <a:pt x="302954" y="356124"/>
                  <a:pt x="301519" y="353257"/>
                </a:cubicBezTo>
                <a:cubicBezTo>
                  <a:pt x="301519" y="350391"/>
                  <a:pt x="298647" y="351824"/>
                  <a:pt x="292905" y="346090"/>
                </a:cubicBezTo>
                <a:cubicBezTo>
                  <a:pt x="287162" y="340357"/>
                  <a:pt x="298647" y="333190"/>
                  <a:pt x="304390" y="326023"/>
                </a:cubicBezTo>
                <a:cubicBezTo>
                  <a:pt x="310133" y="318856"/>
                  <a:pt x="325925" y="301655"/>
                  <a:pt x="330232" y="300222"/>
                </a:cubicBezTo>
                <a:cubicBezTo>
                  <a:pt x="334539" y="298788"/>
                  <a:pt x="334539" y="303088"/>
                  <a:pt x="338846" y="305955"/>
                </a:cubicBezTo>
                <a:cubicBezTo>
                  <a:pt x="341718" y="310255"/>
                  <a:pt x="343153" y="308822"/>
                  <a:pt x="346025" y="313122"/>
                </a:cubicBezTo>
                <a:cubicBezTo>
                  <a:pt x="350332" y="317422"/>
                  <a:pt x="354639" y="318856"/>
                  <a:pt x="354639" y="318856"/>
                </a:cubicBezTo>
                <a:cubicBezTo>
                  <a:pt x="356074" y="317422"/>
                  <a:pt x="357510" y="315989"/>
                  <a:pt x="360381" y="318856"/>
                </a:cubicBezTo>
                <a:cubicBezTo>
                  <a:pt x="363253" y="321723"/>
                  <a:pt x="379045" y="314556"/>
                  <a:pt x="380481" y="313122"/>
                </a:cubicBezTo>
                <a:cubicBezTo>
                  <a:pt x="381917" y="313122"/>
                  <a:pt x="383352" y="310255"/>
                  <a:pt x="387659" y="310255"/>
                </a:cubicBezTo>
                <a:cubicBezTo>
                  <a:pt x="391966" y="308822"/>
                  <a:pt x="400580" y="304522"/>
                  <a:pt x="400580" y="301655"/>
                </a:cubicBezTo>
                <a:cubicBezTo>
                  <a:pt x="402016" y="298788"/>
                  <a:pt x="409194" y="297355"/>
                  <a:pt x="410630" y="298788"/>
                </a:cubicBezTo>
                <a:cubicBezTo>
                  <a:pt x="410630" y="300222"/>
                  <a:pt x="413501" y="298788"/>
                  <a:pt x="414937" y="294488"/>
                </a:cubicBezTo>
                <a:cubicBezTo>
                  <a:pt x="416373" y="291621"/>
                  <a:pt x="419244" y="295921"/>
                  <a:pt x="422116" y="297355"/>
                </a:cubicBezTo>
                <a:cubicBezTo>
                  <a:pt x="424987" y="300222"/>
                  <a:pt x="422116" y="288754"/>
                  <a:pt x="422116" y="285888"/>
                </a:cubicBezTo>
                <a:cubicBezTo>
                  <a:pt x="422116" y="283021"/>
                  <a:pt x="429294" y="283021"/>
                  <a:pt x="432165" y="281587"/>
                </a:cubicBezTo>
                <a:cubicBezTo>
                  <a:pt x="435037" y="281587"/>
                  <a:pt x="436472" y="275854"/>
                  <a:pt x="440779" y="272987"/>
                </a:cubicBezTo>
                <a:cubicBezTo>
                  <a:pt x="445086" y="268687"/>
                  <a:pt x="462314" y="265820"/>
                  <a:pt x="465186" y="265820"/>
                </a:cubicBezTo>
                <a:close/>
                <a:moveTo>
                  <a:pt x="303047" y="50867"/>
                </a:moveTo>
                <a:cubicBezTo>
                  <a:pt x="271469" y="50867"/>
                  <a:pt x="245632" y="75242"/>
                  <a:pt x="245632" y="106785"/>
                </a:cubicBezTo>
                <a:cubicBezTo>
                  <a:pt x="245632" y="138329"/>
                  <a:pt x="271469" y="164137"/>
                  <a:pt x="303047" y="164137"/>
                </a:cubicBezTo>
                <a:cubicBezTo>
                  <a:pt x="334625" y="164137"/>
                  <a:pt x="359027" y="138329"/>
                  <a:pt x="359027" y="106785"/>
                </a:cubicBezTo>
                <a:cubicBezTo>
                  <a:pt x="359027" y="75242"/>
                  <a:pt x="334625" y="50867"/>
                  <a:pt x="303047" y="50867"/>
                </a:cubicBezTo>
                <a:close/>
                <a:moveTo>
                  <a:pt x="292999" y="684"/>
                </a:moveTo>
                <a:cubicBezTo>
                  <a:pt x="356156" y="-6485"/>
                  <a:pt x="410700" y="43698"/>
                  <a:pt x="410700" y="106785"/>
                </a:cubicBezTo>
                <a:cubicBezTo>
                  <a:pt x="410700" y="189945"/>
                  <a:pt x="341802" y="204283"/>
                  <a:pt x="310224" y="283142"/>
                </a:cubicBezTo>
                <a:cubicBezTo>
                  <a:pt x="307353" y="290311"/>
                  <a:pt x="298741" y="290311"/>
                  <a:pt x="295870" y="283142"/>
                </a:cubicBezTo>
                <a:cubicBezTo>
                  <a:pt x="267162" y="212886"/>
                  <a:pt x="208312" y="192813"/>
                  <a:pt x="196829" y="129726"/>
                </a:cubicBezTo>
                <a:cubicBezTo>
                  <a:pt x="186781" y="66639"/>
                  <a:pt x="229843" y="6419"/>
                  <a:pt x="292999" y="6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30" name="îŝļîďê">
            <a:extLst>
              <a:ext uri="{FF2B5EF4-FFF2-40B4-BE49-F238E27FC236}">
                <a16:creationId xmlns:a16="http://schemas.microsoft.com/office/drawing/2014/main" id="{0C3EBE64-DC9B-4818-9C89-5C18AB150CDF}"/>
              </a:ext>
            </a:extLst>
          </p:cNvPr>
          <p:cNvSpPr/>
          <p:nvPr/>
        </p:nvSpPr>
        <p:spPr bwMode="auto">
          <a:xfrm>
            <a:off x="7692631" y="1280477"/>
            <a:ext cx="1188720" cy="1188720"/>
          </a:xfrm>
          <a:prstGeom prst="ellipse">
            <a:avLst/>
          </a:prstGeom>
          <a:solidFill>
            <a:srgbClr val="FF83A8"/>
          </a:solidFill>
          <a:ln w="38100">
            <a:solidFill>
              <a:schemeClr val="bg2"/>
            </a:solidFill>
          </a:ln>
          <a:effectLst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3200"/>
          </a:p>
        </p:txBody>
      </p:sp>
      <p:grpSp>
        <p:nvGrpSpPr>
          <p:cNvPr id="54" name="íśḷiďé">
            <a:extLst>
              <a:ext uri="{FF2B5EF4-FFF2-40B4-BE49-F238E27FC236}">
                <a16:creationId xmlns:a16="http://schemas.microsoft.com/office/drawing/2014/main" id="{EE3F6BBD-D367-4AA5-864D-160C56343A78}"/>
              </a:ext>
            </a:extLst>
          </p:cNvPr>
          <p:cNvGrpSpPr/>
          <p:nvPr/>
        </p:nvGrpSpPr>
        <p:grpSpPr>
          <a:xfrm>
            <a:off x="5785553" y="1440835"/>
            <a:ext cx="745067" cy="804810"/>
            <a:chOff x="0" y="0"/>
            <a:chExt cx="509836" cy="511631"/>
          </a:xfrm>
        </p:grpSpPr>
        <p:sp>
          <p:nvSpPr>
            <p:cNvPr id="55" name="iSļíďè">
              <a:extLst>
                <a:ext uri="{FF2B5EF4-FFF2-40B4-BE49-F238E27FC236}">
                  <a16:creationId xmlns:a16="http://schemas.microsoft.com/office/drawing/2014/main" id="{34BB7B7B-AA0B-4FEB-BA33-3DF6B14EFFA5}"/>
                </a:ext>
              </a:extLst>
            </p:cNvPr>
            <p:cNvSpPr/>
            <p:nvPr/>
          </p:nvSpPr>
          <p:spPr>
            <a:xfrm>
              <a:off x="258509" y="272868"/>
              <a:ext cx="251327" cy="2387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4122" y="101244"/>
                  </a:moveTo>
                  <a:lnTo>
                    <a:pt x="60005" y="82805"/>
                  </a:lnTo>
                  <a:lnTo>
                    <a:pt x="35888" y="101244"/>
                  </a:lnTo>
                  <a:lnTo>
                    <a:pt x="45094" y="71416"/>
                  </a:lnTo>
                  <a:lnTo>
                    <a:pt x="20972" y="52994"/>
                  </a:lnTo>
                  <a:lnTo>
                    <a:pt x="50783" y="52994"/>
                  </a:lnTo>
                  <a:lnTo>
                    <a:pt x="60005" y="23177"/>
                  </a:lnTo>
                  <a:lnTo>
                    <a:pt x="69211" y="52994"/>
                  </a:lnTo>
                  <a:lnTo>
                    <a:pt x="99027" y="52994"/>
                  </a:lnTo>
                  <a:lnTo>
                    <a:pt x="74916" y="71416"/>
                  </a:lnTo>
                  <a:cubicBezTo>
                    <a:pt x="74916" y="71416"/>
                    <a:pt x="84122" y="101244"/>
                    <a:pt x="84122" y="101244"/>
                  </a:cubicBezTo>
                  <a:close/>
                  <a:moveTo>
                    <a:pt x="120000" y="45827"/>
                  </a:moveTo>
                  <a:lnTo>
                    <a:pt x="74161" y="45827"/>
                  </a:lnTo>
                  <a:lnTo>
                    <a:pt x="60005" y="0"/>
                  </a:lnTo>
                  <a:lnTo>
                    <a:pt x="45833" y="45827"/>
                  </a:lnTo>
                  <a:lnTo>
                    <a:pt x="0" y="45827"/>
                  </a:lnTo>
                  <a:lnTo>
                    <a:pt x="37083" y="74161"/>
                  </a:lnTo>
                  <a:lnTo>
                    <a:pt x="22944" y="120000"/>
                  </a:lnTo>
                  <a:lnTo>
                    <a:pt x="60005" y="91666"/>
                  </a:lnTo>
                  <a:lnTo>
                    <a:pt x="97083" y="120000"/>
                  </a:lnTo>
                  <a:lnTo>
                    <a:pt x="82927" y="74161"/>
                  </a:lnTo>
                  <a:cubicBezTo>
                    <a:pt x="82927" y="74161"/>
                    <a:pt x="120000" y="45827"/>
                    <a:pt x="120000" y="458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  <p:sp>
          <p:nvSpPr>
            <p:cNvPr id="56" name="íšľíďê">
              <a:extLst>
                <a:ext uri="{FF2B5EF4-FFF2-40B4-BE49-F238E27FC236}">
                  <a16:creationId xmlns:a16="http://schemas.microsoft.com/office/drawing/2014/main" id="{A7DCE29D-3D6C-411E-8143-BFB2B104DC01}"/>
                </a:ext>
              </a:extLst>
            </p:cNvPr>
            <p:cNvSpPr/>
            <p:nvPr/>
          </p:nvSpPr>
          <p:spPr>
            <a:xfrm>
              <a:off x="0" y="0"/>
              <a:ext cx="382377" cy="43982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500" y="22594"/>
                  </a:moveTo>
                  <a:cubicBezTo>
                    <a:pt x="4655" y="22700"/>
                    <a:pt x="4855" y="22800"/>
                    <a:pt x="5022" y="22900"/>
                  </a:cubicBezTo>
                  <a:cubicBezTo>
                    <a:pt x="5244" y="23038"/>
                    <a:pt x="5483" y="23177"/>
                    <a:pt x="5716" y="23316"/>
                  </a:cubicBezTo>
                  <a:cubicBezTo>
                    <a:pt x="6311" y="23650"/>
                    <a:pt x="6938" y="23977"/>
                    <a:pt x="7611" y="24294"/>
                  </a:cubicBezTo>
                  <a:cubicBezTo>
                    <a:pt x="7850" y="24411"/>
                    <a:pt x="8077" y="24527"/>
                    <a:pt x="8327" y="24644"/>
                  </a:cubicBezTo>
                  <a:cubicBezTo>
                    <a:pt x="10194" y="25477"/>
                    <a:pt x="12327" y="26250"/>
                    <a:pt x="14683" y="26955"/>
                  </a:cubicBezTo>
                  <a:cubicBezTo>
                    <a:pt x="15005" y="27050"/>
                    <a:pt x="15350" y="27144"/>
                    <a:pt x="15688" y="27238"/>
                  </a:cubicBezTo>
                  <a:cubicBezTo>
                    <a:pt x="16583" y="27494"/>
                    <a:pt x="17505" y="27738"/>
                    <a:pt x="18450" y="27972"/>
                  </a:cubicBezTo>
                  <a:cubicBezTo>
                    <a:pt x="18833" y="28072"/>
                    <a:pt x="19205" y="28161"/>
                    <a:pt x="19600" y="28255"/>
                  </a:cubicBezTo>
                  <a:cubicBezTo>
                    <a:pt x="20711" y="28511"/>
                    <a:pt x="21855" y="28761"/>
                    <a:pt x="23027" y="29000"/>
                  </a:cubicBezTo>
                  <a:cubicBezTo>
                    <a:pt x="23238" y="29038"/>
                    <a:pt x="23433" y="29088"/>
                    <a:pt x="23638" y="29122"/>
                  </a:cubicBezTo>
                  <a:cubicBezTo>
                    <a:pt x="25033" y="29394"/>
                    <a:pt x="26472" y="29650"/>
                    <a:pt x="27938" y="29883"/>
                  </a:cubicBezTo>
                  <a:cubicBezTo>
                    <a:pt x="28311" y="29944"/>
                    <a:pt x="28700" y="30005"/>
                    <a:pt x="29083" y="30061"/>
                  </a:cubicBezTo>
                  <a:cubicBezTo>
                    <a:pt x="30200" y="30233"/>
                    <a:pt x="31327" y="30394"/>
                    <a:pt x="32477" y="30544"/>
                  </a:cubicBezTo>
                  <a:cubicBezTo>
                    <a:pt x="32961" y="30611"/>
                    <a:pt x="33444" y="30672"/>
                    <a:pt x="33938" y="30733"/>
                  </a:cubicBezTo>
                  <a:cubicBezTo>
                    <a:pt x="35111" y="30877"/>
                    <a:pt x="36300" y="31011"/>
                    <a:pt x="37500" y="31133"/>
                  </a:cubicBezTo>
                  <a:cubicBezTo>
                    <a:pt x="37894" y="31177"/>
                    <a:pt x="38283" y="31222"/>
                    <a:pt x="38677" y="31261"/>
                  </a:cubicBezTo>
                  <a:cubicBezTo>
                    <a:pt x="40266" y="31416"/>
                    <a:pt x="41866" y="31555"/>
                    <a:pt x="43494" y="31677"/>
                  </a:cubicBezTo>
                  <a:cubicBezTo>
                    <a:pt x="43794" y="31700"/>
                    <a:pt x="44094" y="31716"/>
                    <a:pt x="44400" y="31733"/>
                  </a:cubicBezTo>
                  <a:cubicBezTo>
                    <a:pt x="45727" y="31827"/>
                    <a:pt x="47066" y="31905"/>
                    <a:pt x="48405" y="31977"/>
                  </a:cubicBezTo>
                  <a:cubicBezTo>
                    <a:pt x="48933" y="32005"/>
                    <a:pt x="49461" y="32027"/>
                    <a:pt x="49988" y="32050"/>
                  </a:cubicBezTo>
                  <a:cubicBezTo>
                    <a:pt x="51177" y="32105"/>
                    <a:pt x="52372" y="32144"/>
                    <a:pt x="53572" y="32183"/>
                  </a:cubicBezTo>
                  <a:cubicBezTo>
                    <a:pt x="54066" y="32194"/>
                    <a:pt x="54550" y="32211"/>
                    <a:pt x="55044" y="32222"/>
                  </a:cubicBezTo>
                  <a:cubicBezTo>
                    <a:pt x="56700" y="32261"/>
                    <a:pt x="58355" y="32283"/>
                    <a:pt x="60005" y="32283"/>
                  </a:cubicBezTo>
                  <a:cubicBezTo>
                    <a:pt x="61650" y="32283"/>
                    <a:pt x="63305" y="32261"/>
                    <a:pt x="64961" y="32222"/>
                  </a:cubicBezTo>
                  <a:cubicBezTo>
                    <a:pt x="65455" y="32211"/>
                    <a:pt x="65944" y="32194"/>
                    <a:pt x="66438" y="32183"/>
                  </a:cubicBezTo>
                  <a:cubicBezTo>
                    <a:pt x="67633" y="32144"/>
                    <a:pt x="68827" y="32105"/>
                    <a:pt x="70022" y="32050"/>
                  </a:cubicBezTo>
                  <a:cubicBezTo>
                    <a:pt x="70550" y="32027"/>
                    <a:pt x="71077" y="32005"/>
                    <a:pt x="71605" y="31977"/>
                  </a:cubicBezTo>
                  <a:cubicBezTo>
                    <a:pt x="72938" y="31905"/>
                    <a:pt x="74266" y="31833"/>
                    <a:pt x="75594" y="31733"/>
                  </a:cubicBezTo>
                  <a:cubicBezTo>
                    <a:pt x="75900" y="31716"/>
                    <a:pt x="76211" y="31700"/>
                    <a:pt x="76516" y="31677"/>
                  </a:cubicBezTo>
                  <a:cubicBezTo>
                    <a:pt x="78133" y="31555"/>
                    <a:pt x="79733" y="31416"/>
                    <a:pt x="81316" y="31266"/>
                  </a:cubicBezTo>
                  <a:cubicBezTo>
                    <a:pt x="81727" y="31222"/>
                    <a:pt x="82122" y="31177"/>
                    <a:pt x="82527" y="31133"/>
                  </a:cubicBezTo>
                  <a:cubicBezTo>
                    <a:pt x="83716" y="31011"/>
                    <a:pt x="84888" y="30877"/>
                    <a:pt x="86050" y="30738"/>
                  </a:cubicBezTo>
                  <a:cubicBezTo>
                    <a:pt x="86550" y="30677"/>
                    <a:pt x="87050" y="30605"/>
                    <a:pt x="87544" y="30544"/>
                  </a:cubicBezTo>
                  <a:cubicBezTo>
                    <a:pt x="88677" y="30394"/>
                    <a:pt x="89783" y="30233"/>
                    <a:pt x="90883" y="30066"/>
                  </a:cubicBezTo>
                  <a:cubicBezTo>
                    <a:pt x="91283" y="30005"/>
                    <a:pt x="91688" y="29950"/>
                    <a:pt x="92083" y="29883"/>
                  </a:cubicBezTo>
                  <a:cubicBezTo>
                    <a:pt x="93538" y="29650"/>
                    <a:pt x="94961" y="29400"/>
                    <a:pt x="96344" y="29127"/>
                  </a:cubicBezTo>
                  <a:cubicBezTo>
                    <a:pt x="96583" y="29077"/>
                    <a:pt x="96811" y="29027"/>
                    <a:pt x="97050" y="28977"/>
                  </a:cubicBezTo>
                  <a:cubicBezTo>
                    <a:pt x="98188" y="28750"/>
                    <a:pt x="99300" y="28511"/>
                    <a:pt x="100372" y="28261"/>
                  </a:cubicBezTo>
                  <a:cubicBezTo>
                    <a:pt x="100788" y="28161"/>
                    <a:pt x="101188" y="28061"/>
                    <a:pt x="101588" y="27961"/>
                  </a:cubicBezTo>
                  <a:cubicBezTo>
                    <a:pt x="102505" y="27733"/>
                    <a:pt x="103400" y="27494"/>
                    <a:pt x="104266" y="27250"/>
                  </a:cubicBezTo>
                  <a:cubicBezTo>
                    <a:pt x="104627" y="27150"/>
                    <a:pt x="104994" y="27050"/>
                    <a:pt x="105344" y="26944"/>
                  </a:cubicBezTo>
                  <a:cubicBezTo>
                    <a:pt x="106477" y="26605"/>
                    <a:pt x="107566" y="26255"/>
                    <a:pt x="108594" y="25883"/>
                  </a:cubicBezTo>
                  <a:cubicBezTo>
                    <a:pt x="108627" y="25877"/>
                    <a:pt x="108666" y="25866"/>
                    <a:pt x="108694" y="25850"/>
                  </a:cubicBezTo>
                  <a:cubicBezTo>
                    <a:pt x="109750" y="25472"/>
                    <a:pt x="110727" y="25066"/>
                    <a:pt x="111655" y="24650"/>
                  </a:cubicBezTo>
                  <a:cubicBezTo>
                    <a:pt x="111922" y="24527"/>
                    <a:pt x="112161" y="24405"/>
                    <a:pt x="112411" y="24283"/>
                  </a:cubicBezTo>
                  <a:cubicBezTo>
                    <a:pt x="113072" y="23972"/>
                    <a:pt x="113688" y="23650"/>
                    <a:pt x="114272" y="23316"/>
                  </a:cubicBezTo>
                  <a:cubicBezTo>
                    <a:pt x="114511" y="23177"/>
                    <a:pt x="114755" y="23038"/>
                    <a:pt x="114983" y="22900"/>
                  </a:cubicBezTo>
                  <a:cubicBezTo>
                    <a:pt x="115150" y="22794"/>
                    <a:pt x="115344" y="22700"/>
                    <a:pt x="115500" y="22594"/>
                  </a:cubicBezTo>
                  <a:lnTo>
                    <a:pt x="115500" y="48161"/>
                  </a:lnTo>
                  <a:cubicBezTo>
                    <a:pt x="115500" y="53266"/>
                    <a:pt x="94388" y="60383"/>
                    <a:pt x="60005" y="60383"/>
                  </a:cubicBezTo>
                  <a:cubicBezTo>
                    <a:pt x="25611" y="60383"/>
                    <a:pt x="4500" y="53266"/>
                    <a:pt x="4500" y="48161"/>
                  </a:cubicBezTo>
                  <a:cubicBezTo>
                    <a:pt x="4500" y="48161"/>
                    <a:pt x="4500" y="22594"/>
                    <a:pt x="4500" y="22594"/>
                  </a:cubicBezTo>
                  <a:close/>
                  <a:moveTo>
                    <a:pt x="60005" y="3916"/>
                  </a:moveTo>
                  <a:cubicBezTo>
                    <a:pt x="94388" y="3916"/>
                    <a:pt x="115500" y="11033"/>
                    <a:pt x="115500" y="16144"/>
                  </a:cubicBezTo>
                  <a:cubicBezTo>
                    <a:pt x="115500" y="21244"/>
                    <a:pt x="94388" y="28366"/>
                    <a:pt x="60005" y="28366"/>
                  </a:cubicBezTo>
                  <a:cubicBezTo>
                    <a:pt x="25611" y="28366"/>
                    <a:pt x="4500" y="21244"/>
                    <a:pt x="4500" y="16144"/>
                  </a:cubicBezTo>
                  <a:cubicBezTo>
                    <a:pt x="4500" y="11033"/>
                    <a:pt x="25611" y="3916"/>
                    <a:pt x="60005" y="3916"/>
                  </a:cubicBezTo>
                  <a:close/>
                  <a:moveTo>
                    <a:pt x="75866" y="88200"/>
                  </a:moveTo>
                  <a:cubicBezTo>
                    <a:pt x="70727" y="88561"/>
                    <a:pt x="65388" y="88750"/>
                    <a:pt x="60005" y="88750"/>
                  </a:cubicBezTo>
                  <a:cubicBezTo>
                    <a:pt x="25611" y="88750"/>
                    <a:pt x="4500" y="81627"/>
                    <a:pt x="4500" y="76527"/>
                  </a:cubicBezTo>
                  <a:lnTo>
                    <a:pt x="4500" y="54555"/>
                  </a:lnTo>
                  <a:cubicBezTo>
                    <a:pt x="14066" y="60911"/>
                    <a:pt x="37550" y="64300"/>
                    <a:pt x="60005" y="64300"/>
                  </a:cubicBezTo>
                  <a:cubicBezTo>
                    <a:pt x="82455" y="64300"/>
                    <a:pt x="105933" y="60911"/>
                    <a:pt x="115500" y="54555"/>
                  </a:cubicBezTo>
                  <a:lnTo>
                    <a:pt x="115500" y="65105"/>
                  </a:lnTo>
                  <a:lnTo>
                    <a:pt x="120000" y="65105"/>
                  </a:lnTo>
                  <a:lnTo>
                    <a:pt x="120000" y="16144"/>
                  </a:lnTo>
                  <a:cubicBezTo>
                    <a:pt x="120000" y="5655"/>
                    <a:pt x="89088" y="0"/>
                    <a:pt x="60005" y="0"/>
                  </a:cubicBezTo>
                  <a:cubicBezTo>
                    <a:pt x="30916" y="0"/>
                    <a:pt x="0" y="5655"/>
                    <a:pt x="0" y="16144"/>
                  </a:cubicBezTo>
                  <a:lnTo>
                    <a:pt x="0" y="103861"/>
                  </a:lnTo>
                  <a:cubicBezTo>
                    <a:pt x="0" y="114344"/>
                    <a:pt x="30916" y="120000"/>
                    <a:pt x="60005" y="120000"/>
                  </a:cubicBezTo>
                  <a:cubicBezTo>
                    <a:pt x="65355" y="119994"/>
                    <a:pt x="70605" y="119822"/>
                    <a:pt x="75616" y="119477"/>
                  </a:cubicBezTo>
                  <a:lnTo>
                    <a:pt x="75261" y="115577"/>
                  </a:lnTo>
                  <a:cubicBezTo>
                    <a:pt x="70372" y="115911"/>
                    <a:pt x="65238" y="116083"/>
                    <a:pt x="60005" y="116083"/>
                  </a:cubicBezTo>
                  <a:cubicBezTo>
                    <a:pt x="25611" y="116083"/>
                    <a:pt x="4500" y="108966"/>
                    <a:pt x="4500" y="103861"/>
                  </a:cubicBezTo>
                  <a:lnTo>
                    <a:pt x="4500" y="82922"/>
                  </a:lnTo>
                  <a:cubicBezTo>
                    <a:pt x="14066" y="89277"/>
                    <a:pt x="37550" y="92666"/>
                    <a:pt x="60005" y="92666"/>
                  </a:cubicBezTo>
                  <a:cubicBezTo>
                    <a:pt x="65511" y="92666"/>
                    <a:pt x="70972" y="92472"/>
                    <a:pt x="76233" y="92100"/>
                  </a:cubicBezTo>
                  <a:lnTo>
                    <a:pt x="79116" y="91872"/>
                  </a:lnTo>
                  <a:lnTo>
                    <a:pt x="78677" y="87972"/>
                  </a:lnTo>
                  <a:cubicBezTo>
                    <a:pt x="78677" y="87972"/>
                    <a:pt x="75866" y="88200"/>
                    <a:pt x="75866" y="882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Font typeface="Cabin"/>
                <a:buNone/>
              </a:pPr>
              <a:endParaRPr sz="5400" b="0" i="0" u="none" strike="noStrike" cap="none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3" name="ïSḻïďê">
            <a:extLst>
              <a:ext uri="{FF2B5EF4-FFF2-40B4-BE49-F238E27FC236}">
                <a16:creationId xmlns:a16="http://schemas.microsoft.com/office/drawing/2014/main" id="{909C1486-A146-4E5C-92BB-AEC98F905A94}"/>
              </a:ext>
            </a:extLst>
          </p:cNvPr>
          <p:cNvGrpSpPr/>
          <p:nvPr/>
        </p:nvGrpSpPr>
        <p:grpSpPr>
          <a:xfrm>
            <a:off x="7991721" y="1531144"/>
            <a:ext cx="610414" cy="656573"/>
            <a:chOff x="0" y="0"/>
            <a:chExt cx="483010" cy="511631"/>
          </a:xfrm>
        </p:grpSpPr>
        <p:sp>
          <p:nvSpPr>
            <p:cNvPr id="64" name="íşľïḓè">
              <a:extLst>
                <a:ext uri="{FF2B5EF4-FFF2-40B4-BE49-F238E27FC236}">
                  <a16:creationId xmlns:a16="http://schemas.microsoft.com/office/drawing/2014/main" id="{8CB9EB54-9481-455A-B7D7-34DE3BB7F2F0}"/>
                </a:ext>
              </a:extLst>
            </p:cNvPr>
            <p:cNvSpPr/>
            <p:nvPr/>
          </p:nvSpPr>
          <p:spPr>
            <a:xfrm>
              <a:off x="0" y="0"/>
              <a:ext cx="483010" cy="3613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6450" y="93983"/>
                  </a:moveTo>
                  <a:cubicBezTo>
                    <a:pt x="116450" y="97905"/>
                    <a:pt x="114061" y="101100"/>
                    <a:pt x="111122" y="101100"/>
                  </a:cubicBezTo>
                  <a:lnTo>
                    <a:pt x="8877" y="101100"/>
                  </a:lnTo>
                  <a:cubicBezTo>
                    <a:pt x="5938" y="101100"/>
                    <a:pt x="3550" y="97905"/>
                    <a:pt x="3550" y="93983"/>
                  </a:cubicBezTo>
                  <a:lnTo>
                    <a:pt x="3550" y="11855"/>
                  </a:lnTo>
                  <a:cubicBezTo>
                    <a:pt x="3550" y="7933"/>
                    <a:pt x="5938" y="4738"/>
                    <a:pt x="8877" y="4738"/>
                  </a:cubicBezTo>
                  <a:lnTo>
                    <a:pt x="111122" y="4738"/>
                  </a:lnTo>
                  <a:cubicBezTo>
                    <a:pt x="114061" y="4738"/>
                    <a:pt x="116450" y="7933"/>
                    <a:pt x="116450" y="11855"/>
                  </a:cubicBezTo>
                  <a:cubicBezTo>
                    <a:pt x="116450" y="11855"/>
                    <a:pt x="116450" y="93983"/>
                    <a:pt x="116450" y="93983"/>
                  </a:cubicBezTo>
                  <a:close/>
                  <a:moveTo>
                    <a:pt x="111122" y="0"/>
                  </a:moveTo>
                  <a:lnTo>
                    <a:pt x="8877" y="0"/>
                  </a:lnTo>
                  <a:cubicBezTo>
                    <a:pt x="3983" y="0"/>
                    <a:pt x="0" y="5316"/>
                    <a:pt x="0" y="11855"/>
                  </a:cubicBezTo>
                  <a:lnTo>
                    <a:pt x="0" y="93983"/>
                  </a:lnTo>
                  <a:cubicBezTo>
                    <a:pt x="0" y="100522"/>
                    <a:pt x="3983" y="105838"/>
                    <a:pt x="8877" y="105838"/>
                  </a:cubicBezTo>
                  <a:lnTo>
                    <a:pt x="58222" y="105838"/>
                  </a:lnTo>
                  <a:lnTo>
                    <a:pt x="58222" y="115261"/>
                  </a:lnTo>
                  <a:lnTo>
                    <a:pt x="36472" y="115261"/>
                  </a:lnTo>
                  <a:lnTo>
                    <a:pt x="36472" y="120000"/>
                  </a:lnTo>
                  <a:lnTo>
                    <a:pt x="83522" y="120000"/>
                  </a:lnTo>
                  <a:lnTo>
                    <a:pt x="83522" y="115261"/>
                  </a:lnTo>
                  <a:lnTo>
                    <a:pt x="61772" y="115261"/>
                  </a:lnTo>
                  <a:lnTo>
                    <a:pt x="61772" y="105838"/>
                  </a:lnTo>
                  <a:lnTo>
                    <a:pt x="111122" y="105838"/>
                  </a:lnTo>
                  <a:cubicBezTo>
                    <a:pt x="116016" y="105838"/>
                    <a:pt x="120000" y="100522"/>
                    <a:pt x="120000" y="93983"/>
                  </a:cubicBezTo>
                  <a:lnTo>
                    <a:pt x="120000" y="11855"/>
                  </a:lnTo>
                  <a:cubicBezTo>
                    <a:pt x="120000" y="5316"/>
                    <a:pt x="116016" y="0"/>
                    <a:pt x="11112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  <p:sp>
          <p:nvSpPr>
            <p:cNvPr id="65" name="íṥlïďé">
              <a:extLst>
                <a:ext uri="{FF2B5EF4-FFF2-40B4-BE49-F238E27FC236}">
                  <a16:creationId xmlns:a16="http://schemas.microsoft.com/office/drawing/2014/main" id="{3339E29C-FB01-4804-AF83-77AADA02DBD0}"/>
                </a:ext>
              </a:extLst>
            </p:cNvPr>
            <p:cNvSpPr/>
            <p:nvPr/>
          </p:nvSpPr>
          <p:spPr>
            <a:xfrm>
              <a:off x="28622" y="28623"/>
              <a:ext cx="398932" cy="24508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294" y="6994"/>
                  </a:moveTo>
                  <a:lnTo>
                    <a:pt x="115705" y="6994"/>
                  </a:lnTo>
                  <a:lnTo>
                    <a:pt x="115705" y="113005"/>
                  </a:lnTo>
                  <a:lnTo>
                    <a:pt x="4294" y="113005"/>
                  </a:lnTo>
                  <a:cubicBezTo>
                    <a:pt x="4294" y="113005"/>
                    <a:pt x="4294" y="6994"/>
                    <a:pt x="4294" y="6994"/>
                  </a:cubicBezTo>
                  <a:close/>
                  <a:moveTo>
                    <a:pt x="0" y="120000"/>
                  </a:moveTo>
                  <a:lnTo>
                    <a:pt x="120000" y="120000"/>
                  </a:lnTo>
                  <a:lnTo>
                    <a:pt x="120000" y="0"/>
                  </a:lnTo>
                  <a:lnTo>
                    <a:pt x="0" y="0"/>
                  </a:lnTo>
                  <a:cubicBezTo>
                    <a:pt x="0" y="0"/>
                    <a:pt x="0" y="120000"/>
                    <a:pt x="0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  <p:sp>
          <p:nvSpPr>
            <p:cNvPr id="66" name="ïṩḻïďé">
              <a:extLst>
                <a:ext uri="{FF2B5EF4-FFF2-40B4-BE49-F238E27FC236}">
                  <a16:creationId xmlns:a16="http://schemas.microsoft.com/office/drawing/2014/main" id="{C5CBF85C-4B6E-4B8A-AA22-8E44D3B994A7}"/>
                </a:ext>
              </a:extLst>
            </p:cNvPr>
            <p:cNvSpPr/>
            <p:nvPr/>
          </p:nvSpPr>
          <p:spPr>
            <a:xfrm>
              <a:off x="0" y="400717"/>
              <a:ext cx="483010" cy="11091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550" y="15388"/>
                  </a:moveTo>
                  <a:lnTo>
                    <a:pt x="116450" y="15388"/>
                  </a:lnTo>
                  <a:lnTo>
                    <a:pt x="116450" y="104611"/>
                  </a:lnTo>
                  <a:lnTo>
                    <a:pt x="3550" y="104611"/>
                  </a:lnTo>
                  <a:cubicBezTo>
                    <a:pt x="3550" y="104611"/>
                    <a:pt x="3550" y="15388"/>
                    <a:pt x="3550" y="15388"/>
                  </a:cubicBezTo>
                  <a:close/>
                  <a:moveTo>
                    <a:pt x="0" y="120000"/>
                  </a:moveTo>
                  <a:lnTo>
                    <a:pt x="120000" y="120000"/>
                  </a:lnTo>
                  <a:lnTo>
                    <a:pt x="120000" y="0"/>
                  </a:lnTo>
                  <a:lnTo>
                    <a:pt x="0" y="0"/>
                  </a:lnTo>
                  <a:cubicBezTo>
                    <a:pt x="0" y="0"/>
                    <a:pt x="0" y="120000"/>
                    <a:pt x="0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  <p:sp>
          <p:nvSpPr>
            <p:cNvPr id="67" name="íṥḻíḍé">
              <a:extLst>
                <a:ext uri="{FF2B5EF4-FFF2-40B4-BE49-F238E27FC236}">
                  <a16:creationId xmlns:a16="http://schemas.microsoft.com/office/drawing/2014/main" id="{27A7EE49-8C07-43C0-A660-882DB1459B74}"/>
                </a:ext>
              </a:extLst>
            </p:cNvPr>
            <p:cNvSpPr/>
            <p:nvPr/>
          </p:nvSpPr>
          <p:spPr>
            <a:xfrm>
              <a:off x="28622" y="429341"/>
              <a:ext cx="48302" cy="4830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966" y="84833"/>
                  </a:moveTo>
                  <a:cubicBezTo>
                    <a:pt x="46294" y="84833"/>
                    <a:pt x="35166" y="73666"/>
                    <a:pt x="35166" y="59966"/>
                  </a:cubicBezTo>
                  <a:cubicBezTo>
                    <a:pt x="35166" y="46294"/>
                    <a:pt x="46294" y="35166"/>
                    <a:pt x="59966" y="35166"/>
                  </a:cubicBezTo>
                  <a:cubicBezTo>
                    <a:pt x="73666" y="35166"/>
                    <a:pt x="84833" y="46294"/>
                    <a:pt x="84833" y="59966"/>
                  </a:cubicBezTo>
                  <a:cubicBezTo>
                    <a:pt x="84833" y="73666"/>
                    <a:pt x="73666" y="84833"/>
                    <a:pt x="59966" y="84833"/>
                  </a:cubicBezTo>
                  <a:close/>
                  <a:moveTo>
                    <a:pt x="59966" y="0"/>
                  </a:moveTo>
                  <a:cubicBezTo>
                    <a:pt x="26894" y="0"/>
                    <a:pt x="0" y="26894"/>
                    <a:pt x="0" y="59966"/>
                  </a:cubicBezTo>
                  <a:cubicBezTo>
                    <a:pt x="0" y="93072"/>
                    <a:pt x="26894" y="120000"/>
                    <a:pt x="59966" y="120000"/>
                  </a:cubicBezTo>
                  <a:cubicBezTo>
                    <a:pt x="93072" y="120000"/>
                    <a:pt x="120000" y="93072"/>
                    <a:pt x="120000" y="59966"/>
                  </a:cubicBezTo>
                  <a:cubicBezTo>
                    <a:pt x="120000" y="26894"/>
                    <a:pt x="93072" y="0"/>
                    <a:pt x="5996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  <p:sp>
          <p:nvSpPr>
            <p:cNvPr id="68" name="isḷïḋè">
              <a:extLst>
                <a:ext uri="{FF2B5EF4-FFF2-40B4-BE49-F238E27FC236}">
                  <a16:creationId xmlns:a16="http://schemas.microsoft.com/office/drawing/2014/main" id="{03986D8C-4794-4916-9AF0-B8DC5B446B35}"/>
                </a:ext>
              </a:extLst>
            </p:cNvPr>
            <p:cNvSpPr/>
            <p:nvPr/>
          </p:nvSpPr>
          <p:spPr>
            <a:xfrm>
              <a:off x="271914" y="457964"/>
              <a:ext cx="148481" cy="1431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lnTo>
                    <a:pt x="120000" y="120000"/>
                  </a:lnTo>
                  <a:lnTo>
                    <a:pt x="120000" y="0"/>
                  </a:lnTo>
                  <a:lnTo>
                    <a:pt x="0" y="0"/>
                  </a:lnTo>
                  <a:cubicBezTo>
                    <a:pt x="0" y="0"/>
                    <a:pt x="0" y="120000"/>
                    <a:pt x="0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Cabin"/>
                <a:buNone/>
              </a:pPr>
              <a:endParaRPr sz="5400" b="0" i="0" u="none" strike="noStrike" cap="non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5344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391065-092a-4dab-9ed4-5cccb84cb53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be90c13-0265-47d4-9235-2547409d16a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be90c13-0265-47d4-9235-2547409d16a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PLUS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71</TotalTime>
  <Words>573</Words>
  <Application>Microsoft Office PowerPoint</Application>
  <PresentationFormat>宽屏</PresentationFormat>
  <Paragraphs>110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2" baseType="lpstr">
      <vt:lpstr>-apple-system</vt:lpstr>
      <vt:lpstr>Cabin</vt:lpstr>
      <vt:lpstr>微软雅黑</vt:lpstr>
      <vt:lpstr>Arial</vt:lpstr>
      <vt:lpstr>Calibri</vt:lpstr>
      <vt:lpstr>Impact</vt:lpstr>
      <vt:lpstr>Segoe UI Light</vt:lpstr>
      <vt:lpstr>主题5</vt:lpstr>
      <vt:lpstr>OfficePLUS</vt:lpstr>
      <vt:lpstr>think-cell Slide</vt:lpstr>
      <vt:lpstr>项目开发计划</vt:lpstr>
      <vt:lpstr>PowerPoint 演示文稿</vt:lpstr>
      <vt:lpstr>项目题目</vt:lpstr>
      <vt:lpstr>项目背景</vt:lpstr>
      <vt:lpstr>项目题目</vt:lpstr>
      <vt:lpstr>团队成员</vt:lpstr>
      <vt:lpstr>团队成员（5人）</vt:lpstr>
      <vt:lpstr>技术路线</vt:lpstr>
      <vt:lpstr>技术路线：Java语言</vt:lpstr>
      <vt:lpstr>技术路线：深度学习图像分割</vt:lpstr>
      <vt:lpstr>开发计划时间线</vt:lpstr>
      <vt:lpstr>感谢观看</vt:lpstr>
    </vt:vector>
  </TitlesOfParts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一次课堂汇报</dc:title>
  <cp:lastModifiedBy>张 鸿斌</cp:lastModifiedBy>
  <cp:revision>46</cp:revision>
  <cp:lastPrinted>2018-06-07T16:00:00Z</cp:lastPrinted>
  <dcterms:created xsi:type="dcterms:W3CDTF">2018-06-07T16:00:00Z</dcterms:created>
  <dcterms:modified xsi:type="dcterms:W3CDTF">2022-03-26T03:0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v-yunxl@microsoft.com</vt:lpwstr>
  </property>
  <property fmtid="{D5CDD505-2E9C-101B-9397-08002B2CF9AE}" pid="6" name="MSIP_Label_f42aa342-8706-4288-bd11-ebb85995028c_SetDate">
    <vt:lpwstr>2018-11-16T07:35:27.1720801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